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5"/>
  </p:notesMasterIdLst>
  <p:sldIdLst>
    <p:sldId id="256" r:id="rId5"/>
    <p:sldId id="3542" r:id="rId6"/>
    <p:sldId id="3552" r:id="rId7"/>
    <p:sldId id="4142" r:id="rId8"/>
    <p:sldId id="280" r:id="rId9"/>
    <p:sldId id="4141" r:id="rId10"/>
    <p:sldId id="4137" r:id="rId11"/>
    <p:sldId id="4136" r:id="rId12"/>
    <p:sldId id="3540" r:id="rId13"/>
    <p:sldId id="3560" r:id="rId14"/>
    <p:sldId id="3543" r:id="rId15"/>
    <p:sldId id="3546" r:id="rId16"/>
    <p:sldId id="3539" r:id="rId17"/>
    <p:sldId id="4128" r:id="rId18"/>
    <p:sldId id="3563" r:id="rId19"/>
    <p:sldId id="3532" r:id="rId20"/>
    <p:sldId id="4127" r:id="rId21"/>
    <p:sldId id="3566" r:id="rId22"/>
    <p:sldId id="4129" r:id="rId23"/>
    <p:sldId id="3568" r:id="rId24"/>
    <p:sldId id="4139" r:id="rId25"/>
    <p:sldId id="263" r:id="rId26"/>
    <p:sldId id="3550" r:id="rId27"/>
    <p:sldId id="3561" r:id="rId28"/>
    <p:sldId id="4135" r:id="rId29"/>
    <p:sldId id="465" r:id="rId30"/>
    <p:sldId id="454" r:id="rId31"/>
    <p:sldId id="4134" r:id="rId32"/>
    <p:sldId id="4133" r:id="rId33"/>
    <p:sldId id="4132" r:id="rId34"/>
    <p:sldId id="3556" r:id="rId35"/>
    <p:sldId id="4138" r:id="rId36"/>
    <p:sldId id="4130" r:id="rId37"/>
    <p:sldId id="4131" r:id="rId38"/>
    <p:sldId id="3548" r:id="rId39"/>
    <p:sldId id="3555" r:id="rId40"/>
    <p:sldId id="272" r:id="rId41"/>
    <p:sldId id="273" r:id="rId42"/>
    <p:sldId id="3553" r:id="rId43"/>
    <p:sldId id="3554" r:id="rId4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0C49A983-6449-4BD4-BF2F-031380B00CA7}">
          <p14:sldIdLst>
            <p14:sldId id="256"/>
            <p14:sldId id="3542"/>
            <p14:sldId id="3552"/>
            <p14:sldId id="4142"/>
            <p14:sldId id="280"/>
            <p14:sldId id="4141"/>
            <p14:sldId id="4137"/>
          </p14:sldIdLst>
        </p14:section>
        <p14:section name="Konto og ksted" id="{4FBD4618-A45F-4587-B51E-E4EFAA1BC969}">
          <p14:sldIdLst>
            <p14:sldId id="4136"/>
          </p14:sldIdLst>
        </p14:section>
        <p14:section name="Prosjektstruktur BFV" id="{E3CEFC38-C4AD-4987-AF3E-5A3D687898D8}">
          <p14:sldIdLst>
            <p14:sldId id="3540"/>
            <p14:sldId id="3560"/>
            <p14:sldId id="3543"/>
            <p14:sldId id="3546"/>
            <p14:sldId id="3539"/>
            <p14:sldId id="4128"/>
            <p14:sldId id="3563"/>
            <p14:sldId id="3532"/>
            <p14:sldId id="4127"/>
            <p14:sldId id="3566"/>
            <p14:sldId id="4129"/>
            <p14:sldId id="3568"/>
            <p14:sldId id="4139"/>
            <p14:sldId id="263"/>
          </p14:sldIdLst>
        </p14:section>
        <p14:section name="Prosjektstruktur BOA" id="{AEB2EEC8-6BFA-46A7-A4A7-F6BB8B377ECF}">
          <p14:sldIdLst>
            <p14:sldId id="3550"/>
            <p14:sldId id="3561"/>
            <p14:sldId id="4135"/>
            <p14:sldId id="465"/>
            <p14:sldId id="454"/>
            <p14:sldId id="4134"/>
            <p14:sldId id="4133"/>
            <p14:sldId id="4132"/>
            <p14:sldId id="3556"/>
            <p14:sldId id="4138"/>
            <p14:sldId id="4130"/>
            <p14:sldId id="4131"/>
            <p14:sldId id="3548"/>
          </p14:sldIdLst>
        </p14:section>
        <p14:section name="Diverse" id="{0AD318A6-8EC0-440E-984C-6AEF2E53261B}">
          <p14:sldIdLst>
            <p14:sldId id="3555"/>
            <p14:sldId id="272"/>
            <p14:sldId id="273"/>
            <p14:sldId id="3553"/>
          </p14:sldIdLst>
        </p14:section>
        <p14:section name="Avslutning" id="{48C02EDB-6332-4C3C-BA2E-2CCB45A95DCE}">
          <p14:sldIdLst>
            <p14:sldId id="355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4" d="100"/>
          <a:sy n="154" d="100"/>
        </p:scale>
        <p:origin x="276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50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ude Wictoria Bersvendsen" userId="b0bd4654-ae9e-4d2a-ac5e-f9ef4df2258d" providerId="ADAL" clId="{EFAA85F7-1779-4657-BBF8-A2ED3DDEFC17}"/>
    <pc:docChg chg="delSld modSection">
      <pc:chgData name="Trude Wictoria Bersvendsen" userId="b0bd4654-ae9e-4d2a-ac5e-f9ef4df2258d" providerId="ADAL" clId="{EFAA85F7-1779-4657-BBF8-A2ED3DDEFC17}" dt="2022-11-02T12:28:12.745" v="2" actId="47"/>
      <pc:docMkLst>
        <pc:docMk/>
      </pc:docMkLst>
      <pc:sldChg chg="del">
        <pc:chgData name="Trude Wictoria Bersvendsen" userId="b0bd4654-ae9e-4d2a-ac5e-f9ef4df2258d" providerId="ADAL" clId="{EFAA85F7-1779-4657-BBF8-A2ED3DDEFC17}" dt="2022-11-02T12:26:28.172" v="1" actId="47"/>
        <pc:sldMkLst>
          <pc:docMk/>
          <pc:sldMk cId="2834201114" sldId="4125"/>
        </pc:sldMkLst>
      </pc:sldChg>
      <pc:sldChg chg="del">
        <pc:chgData name="Trude Wictoria Bersvendsen" userId="b0bd4654-ae9e-4d2a-ac5e-f9ef4df2258d" providerId="ADAL" clId="{EFAA85F7-1779-4657-BBF8-A2ED3DDEFC17}" dt="2022-11-02T12:26:25.584" v="0" actId="47"/>
        <pc:sldMkLst>
          <pc:docMk/>
          <pc:sldMk cId="1336965358" sldId="4126"/>
        </pc:sldMkLst>
      </pc:sldChg>
      <pc:sldChg chg="del">
        <pc:chgData name="Trude Wictoria Bersvendsen" userId="b0bd4654-ae9e-4d2a-ac5e-f9ef4df2258d" providerId="ADAL" clId="{EFAA85F7-1779-4657-BBF8-A2ED3DDEFC17}" dt="2022-11-02T12:28:12.745" v="2" actId="47"/>
        <pc:sldMkLst>
          <pc:docMk/>
          <pc:sldMk cId="980788905" sldId="4140"/>
        </pc:sldMkLst>
      </pc:sldChg>
      <pc:sldMasterChg chg="delSldLayout">
        <pc:chgData name="Trude Wictoria Bersvendsen" userId="b0bd4654-ae9e-4d2a-ac5e-f9ef4df2258d" providerId="ADAL" clId="{EFAA85F7-1779-4657-BBF8-A2ED3DDEFC17}" dt="2022-11-02T12:28:12.745" v="2" actId="47"/>
        <pc:sldMasterMkLst>
          <pc:docMk/>
          <pc:sldMasterMk cId="3703792416" sldId="2147483648"/>
        </pc:sldMasterMkLst>
        <pc:sldLayoutChg chg="del">
          <pc:chgData name="Trude Wictoria Bersvendsen" userId="b0bd4654-ae9e-4d2a-ac5e-f9ef4df2258d" providerId="ADAL" clId="{EFAA85F7-1779-4657-BBF8-A2ED3DDEFC17}" dt="2022-11-02T12:28:12.745" v="2" actId="47"/>
          <pc:sldLayoutMkLst>
            <pc:docMk/>
            <pc:sldMasterMk cId="3703792416" sldId="2147483648"/>
            <pc:sldLayoutMk cId="662639090" sldId="2147483661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B0F5E0-841E-4070-A1BB-A254B124F66C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87201BB1-395D-4B1F-88E0-55E6FBBBDD99}">
      <dgm:prSet phldrT="[Tekst]"/>
      <dgm:spPr/>
      <dgm:t>
        <a:bodyPr/>
        <a:lstStyle/>
        <a:p>
          <a:r>
            <a:rPr lang="nb-NO"/>
            <a:t>RD  Driftsaktivitet</a:t>
          </a:r>
        </a:p>
      </dgm:t>
    </dgm:pt>
    <dgm:pt modelId="{CBBA80A2-1456-4DE9-A48B-C3CC12138D69}" type="parTrans" cxnId="{ABA24404-EE35-406B-B784-D9C8FE1412ED}">
      <dgm:prSet/>
      <dgm:spPr/>
      <dgm:t>
        <a:bodyPr/>
        <a:lstStyle/>
        <a:p>
          <a:endParaRPr lang="nb-NO"/>
        </a:p>
      </dgm:t>
    </dgm:pt>
    <dgm:pt modelId="{E9DF15E5-06BC-4E9C-B315-17F64B41459A}" type="sibTrans" cxnId="{ABA24404-EE35-406B-B784-D9C8FE1412ED}">
      <dgm:prSet/>
      <dgm:spPr/>
      <dgm:t>
        <a:bodyPr/>
        <a:lstStyle/>
        <a:p>
          <a:endParaRPr lang="nb-NO"/>
        </a:p>
      </dgm:t>
    </dgm:pt>
    <dgm:pt modelId="{818CDE2F-78B3-4E35-8A8F-89A46015A7B2}">
      <dgm:prSet phldrT="[Tekst]"/>
      <dgm:spPr/>
      <dgm:t>
        <a:bodyPr/>
        <a:lstStyle/>
        <a:p>
          <a:r>
            <a:rPr lang="nb-NO" b="0" i="0" u="none" strike="noStrike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>
            <a:solidFill>
              <a:schemeClr val="bg1"/>
            </a:solidFill>
          </a:endParaRPr>
        </a:p>
      </dgm:t>
    </dgm:pt>
    <dgm:pt modelId="{7B5F8C26-E31E-4D72-AE35-37447C1D148B}" type="parTrans" cxnId="{23970E59-CE9B-4907-937F-0581FE51B139}">
      <dgm:prSet/>
      <dgm:spPr/>
      <dgm:t>
        <a:bodyPr/>
        <a:lstStyle/>
        <a:p>
          <a:endParaRPr lang="nb-NO"/>
        </a:p>
      </dgm:t>
    </dgm:pt>
    <dgm:pt modelId="{04E98F9C-8223-454E-A32B-009E0B784823}" type="sibTrans" cxnId="{23970E59-CE9B-4907-937F-0581FE51B139}">
      <dgm:prSet/>
      <dgm:spPr/>
      <dgm:t>
        <a:bodyPr/>
        <a:lstStyle/>
        <a:p>
          <a:endParaRPr lang="nb-NO"/>
        </a:p>
      </dgm:t>
    </dgm:pt>
    <dgm:pt modelId="{85950EC1-3C3E-43B9-B663-E5AC288919B6}">
      <dgm:prSet phldrT="[Tekst]"/>
      <dgm:spPr/>
      <dgm:t>
        <a:bodyPr/>
        <a:lstStyle/>
        <a:p>
          <a:r>
            <a:rPr lang="nb-NO"/>
            <a:t>Professor A</a:t>
          </a:r>
        </a:p>
      </dgm:t>
    </dgm:pt>
    <dgm:pt modelId="{2394EBD1-8B48-4F2E-8F7D-901794B15AC8}" type="parTrans" cxnId="{C7BAA11C-1D62-4A89-B106-958D062DE690}">
      <dgm:prSet/>
      <dgm:spPr/>
      <dgm:t>
        <a:bodyPr/>
        <a:lstStyle/>
        <a:p>
          <a:endParaRPr lang="nb-NO"/>
        </a:p>
      </dgm:t>
    </dgm:pt>
    <dgm:pt modelId="{5F900CEC-9A93-4D43-90FA-468A0AE8C1DD}" type="sibTrans" cxnId="{C7BAA11C-1D62-4A89-B106-958D062DE690}">
      <dgm:prSet/>
      <dgm:spPr/>
      <dgm:t>
        <a:bodyPr/>
        <a:lstStyle/>
        <a:p>
          <a:endParaRPr lang="nb-NO"/>
        </a:p>
      </dgm:t>
    </dgm:pt>
    <dgm:pt modelId="{D1F13673-5735-403D-B976-6869727516AF}">
      <dgm:prSet phldrT="[Tekst]"/>
      <dgm:spPr/>
      <dgm:t>
        <a:bodyPr/>
        <a:lstStyle/>
        <a:p>
          <a:r>
            <a:rPr lang="nb-NO"/>
            <a:t>Professor B</a:t>
          </a:r>
        </a:p>
      </dgm:t>
    </dgm:pt>
    <dgm:pt modelId="{79459FA9-BA5A-4F84-9364-CC47AED5F552}" type="parTrans" cxnId="{0665EBA4-0969-4877-B6A1-9523C67D3349}">
      <dgm:prSet/>
      <dgm:spPr/>
      <dgm:t>
        <a:bodyPr/>
        <a:lstStyle/>
        <a:p>
          <a:endParaRPr lang="nb-NO"/>
        </a:p>
      </dgm:t>
    </dgm:pt>
    <dgm:pt modelId="{836D4AF3-5A55-4ECF-B301-D06A01FD1C65}" type="sibTrans" cxnId="{0665EBA4-0969-4877-B6A1-9523C67D3349}">
      <dgm:prSet/>
      <dgm:spPr/>
      <dgm:t>
        <a:bodyPr/>
        <a:lstStyle/>
        <a:p>
          <a:endParaRPr lang="nb-NO"/>
        </a:p>
      </dgm:t>
    </dgm:pt>
    <dgm:pt modelId="{8BCC8DEB-581E-4BB6-87B6-05942376BBDD}">
      <dgm:prSet phldrT="[Tekst]"/>
      <dgm:spPr/>
      <dgm:t>
        <a:bodyPr/>
        <a:lstStyle/>
        <a:p>
          <a:r>
            <a:rPr lang="nb-NO"/>
            <a:t>Investering infrastruktur</a:t>
          </a:r>
        </a:p>
      </dgm:t>
    </dgm:pt>
    <dgm:pt modelId="{6F3263C0-FAE1-4C0A-B0B1-83D3FC18EB98}" type="parTrans" cxnId="{1729CB85-9549-4AF4-9AC9-8024A7A573B6}">
      <dgm:prSet/>
      <dgm:spPr/>
      <dgm:t>
        <a:bodyPr/>
        <a:lstStyle/>
        <a:p>
          <a:endParaRPr lang="nb-NO"/>
        </a:p>
      </dgm:t>
    </dgm:pt>
    <dgm:pt modelId="{A31A9101-1166-4D5C-A987-21B2F8C5A1BD}" type="sibTrans" cxnId="{1729CB85-9549-4AF4-9AC9-8024A7A573B6}">
      <dgm:prSet/>
      <dgm:spPr/>
      <dgm:t>
        <a:bodyPr/>
        <a:lstStyle/>
        <a:p>
          <a:endParaRPr lang="nb-NO"/>
        </a:p>
      </dgm:t>
    </dgm:pt>
    <dgm:pt modelId="{F6022BBA-A05A-42BF-B6CC-F90A651D3EF4}">
      <dgm:prSet phldrT="[Tekst]"/>
      <dgm:spPr/>
      <dgm:t>
        <a:bodyPr/>
        <a:lstStyle/>
        <a:p>
          <a:r>
            <a:rPr lang="nb-NO"/>
            <a:t>Instrument </a:t>
          </a:r>
          <a:r>
            <a:rPr lang="nb-NO" err="1"/>
            <a:t>X</a:t>
          </a:r>
          <a:endParaRPr lang="nb-NO"/>
        </a:p>
      </dgm:t>
    </dgm:pt>
    <dgm:pt modelId="{231A843B-5BBE-4240-85FF-4AC266C772AB}" type="parTrans" cxnId="{30389642-448A-4068-9455-49CF9F0F9ECF}">
      <dgm:prSet/>
      <dgm:spPr/>
      <dgm:t>
        <a:bodyPr/>
        <a:lstStyle/>
        <a:p>
          <a:endParaRPr lang="nb-NO"/>
        </a:p>
      </dgm:t>
    </dgm:pt>
    <dgm:pt modelId="{BE40F9BE-92AE-4D82-B453-A014DB7B2715}" type="sibTrans" cxnId="{30389642-448A-4068-9455-49CF9F0F9ECF}">
      <dgm:prSet/>
      <dgm:spPr/>
      <dgm:t>
        <a:bodyPr/>
        <a:lstStyle/>
        <a:p>
          <a:endParaRPr lang="nb-NO"/>
        </a:p>
      </dgm:t>
    </dgm:pt>
    <dgm:pt modelId="{BFD9E5C9-B801-4D4C-8BFE-CBB400BB9EF0}">
      <dgm:prSet phldrT="[Tekst]" custT="1"/>
      <dgm:spPr/>
      <dgm:t>
        <a:bodyPr/>
        <a:lstStyle/>
        <a:p>
          <a:r>
            <a:rPr lang="nb-NO" sz="2000"/>
            <a:t>Aktivitets-type</a:t>
          </a:r>
        </a:p>
      </dgm:t>
    </dgm:pt>
    <dgm:pt modelId="{099D564D-7511-42EA-9D94-320727F4EDD9}" type="parTrans" cxnId="{8DA5A816-23A3-4309-BE9A-1BA0114C6259}">
      <dgm:prSet/>
      <dgm:spPr/>
      <dgm:t>
        <a:bodyPr/>
        <a:lstStyle/>
        <a:p>
          <a:endParaRPr lang="nb-NO"/>
        </a:p>
      </dgm:t>
    </dgm:pt>
    <dgm:pt modelId="{FC620551-341B-49C8-AA26-615A4857D1BE}" type="sibTrans" cxnId="{8DA5A816-23A3-4309-BE9A-1BA0114C6259}">
      <dgm:prSet/>
      <dgm:spPr/>
      <dgm:t>
        <a:bodyPr/>
        <a:lstStyle/>
        <a:p>
          <a:endParaRPr lang="nb-NO"/>
        </a:p>
      </dgm:t>
    </dgm:pt>
    <dgm:pt modelId="{A222EA61-15BD-4D2F-88CD-07864F586B23}">
      <dgm:prSet phldrT="[Tekst]" custT="1"/>
      <dgm:spPr/>
      <dgm:t>
        <a:bodyPr/>
        <a:lstStyle/>
        <a:p>
          <a:r>
            <a:rPr lang="nb-NO" sz="2000"/>
            <a:t>Aktivitet</a:t>
          </a:r>
          <a:endParaRPr lang="nb-NO" sz="2500"/>
        </a:p>
      </dgm:t>
    </dgm:pt>
    <dgm:pt modelId="{58B9BBCF-7A9C-4FD2-9E9C-98EFA48378B7}" type="parTrans" cxnId="{4CFE01D5-FF21-48F4-9227-78AA58D65CE7}">
      <dgm:prSet/>
      <dgm:spPr/>
      <dgm:t>
        <a:bodyPr/>
        <a:lstStyle/>
        <a:p>
          <a:endParaRPr lang="nb-NO"/>
        </a:p>
      </dgm:t>
    </dgm:pt>
    <dgm:pt modelId="{2CD13829-3DAC-4CC9-9737-B472831E82BF}" type="sibTrans" cxnId="{4CFE01D5-FF21-48F4-9227-78AA58D65CE7}">
      <dgm:prSet/>
      <dgm:spPr/>
      <dgm:t>
        <a:bodyPr/>
        <a:lstStyle/>
        <a:p>
          <a:endParaRPr lang="nb-NO"/>
        </a:p>
      </dgm:t>
    </dgm:pt>
    <dgm:pt modelId="{957E98B2-B978-4E01-B193-5ADF95B16D6B}">
      <dgm:prSet phldrT="[Tekst]" custT="1"/>
      <dgm:spPr/>
      <dgm:t>
        <a:bodyPr/>
        <a:lstStyle/>
        <a:p>
          <a:r>
            <a:rPr lang="nb-NO" sz="2000"/>
            <a:t>Del-prosjekt</a:t>
          </a:r>
          <a:endParaRPr lang="nb-NO" sz="2500"/>
        </a:p>
      </dgm:t>
    </dgm:pt>
    <dgm:pt modelId="{79FF90AC-15B2-4B3E-A700-C70A295E5F80}" type="parTrans" cxnId="{1D992BF4-2294-43ED-83C8-6985507BC222}">
      <dgm:prSet/>
      <dgm:spPr/>
      <dgm:t>
        <a:bodyPr/>
        <a:lstStyle/>
        <a:p>
          <a:endParaRPr lang="nb-NO"/>
        </a:p>
      </dgm:t>
    </dgm:pt>
    <dgm:pt modelId="{813B2701-47BA-4C17-9230-B5208A2AC5A7}" type="sibTrans" cxnId="{1D992BF4-2294-43ED-83C8-6985507BC222}">
      <dgm:prSet/>
      <dgm:spPr/>
      <dgm:t>
        <a:bodyPr/>
        <a:lstStyle/>
        <a:p>
          <a:endParaRPr lang="nb-NO"/>
        </a:p>
      </dgm:t>
    </dgm:pt>
    <dgm:pt modelId="{F46B3D9C-77BD-4806-B669-210044CFB7AA}">
      <dgm:prSet phldrT="[Tekst]"/>
      <dgm:spPr/>
      <dgm:t>
        <a:bodyPr/>
        <a:lstStyle/>
        <a:p>
          <a:r>
            <a:rPr lang="nb-NO"/>
            <a:t>Instrument Y</a:t>
          </a:r>
        </a:p>
      </dgm:t>
    </dgm:pt>
    <dgm:pt modelId="{2C2F6CE0-04BD-4FA8-94B8-5D249D51ABF8}" type="parTrans" cxnId="{42F2785D-6B6C-4FF8-B405-C0A5E729EF89}">
      <dgm:prSet/>
      <dgm:spPr/>
      <dgm:t>
        <a:bodyPr/>
        <a:lstStyle/>
        <a:p>
          <a:endParaRPr lang="nb-NO"/>
        </a:p>
      </dgm:t>
    </dgm:pt>
    <dgm:pt modelId="{6EB71436-5A87-4282-B60D-248019120C6E}" type="sibTrans" cxnId="{42F2785D-6B6C-4FF8-B405-C0A5E729EF89}">
      <dgm:prSet/>
      <dgm:spPr/>
      <dgm:t>
        <a:bodyPr/>
        <a:lstStyle/>
        <a:p>
          <a:endParaRPr lang="nb-NO"/>
        </a:p>
      </dgm:t>
    </dgm:pt>
    <dgm:pt modelId="{8D58C0C5-60A4-454D-A7C7-6670E675C8DA}" type="pres">
      <dgm:prSet presAssocID="{BCB0F5E0-841E-4070-A1BB-A254B124F66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782F5A9B-6D74-4C44-A0AB-D64B523B846F}" type="pres">
      <dgm:prSet presAssocID="{BCB0F5E0-841E-4070-A1BB-A254B124F66C}" presName="hierFlow" presStyleCnt="0"/>
      <dgm:spPr/>
    </dgm:pt>
    <dgm:pt modelId="{75D2F864-9FDA-49F6-BF26-534372737C90}" type="pres">
      <dgm:prSet presAssocID="{BCB0F5E0-841E-4070-A1BB-A254B124F66C}" presName="firstBuf" presStyleCnt="0"/>
      <dgm:spPr/>
    </dgm:pt>
    <dgm:pt modelId="{58B47886-01D9-4BD3-8F33-6DD1DC14CC64}" type="pres">
      <dgm:prSet presAssocID="{BCB0F5E0-841E-4070-A1BB-A254B124F66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F3187D92-366E-45D7-8EB8-5EB012ECF93D}" type="pres">
      <dgm:prSet presAssocID="{87201BB1-395D-4B1F-88E0-55E6FBBBDD99}" presName="Name17" presStyleCnt="0"/>
      <dgm:spPr/>
    </dgm:pt>
    <dgm:pt modelId="{C3192294-998D-4925-9864-0F5493BE1276}" type="pres">
      <dgm:prSet presAssocID="{87201BB1-395D-4B1F-88E0-55E6FBBBDD99}" presName="level1Shape" presStyleLbl="node0" presStyleIdx="0" presStyleCnt="1">
        <dgm:presLayoutVars>
          <dgm:chPref val="3"/>
        </dgm:presLayoutVars>
      </dgm:prSet>
      <dgm:spPr/>
    </dgm:pt>
    <dgm:pt modelId="{A674F10B-F594-46A0-9305-275AB217B08D}" type="pres">
      <dgm:prSet presAssocID="{87201BB1-395D-4B1F-88E0-55E6FBBBDD99}" presName="hierChild2" presStyleCnt="0"/>
      <dgm:spPr/>
    </dgm:pt>
    <dgm:pt modelId="{4F6071C6-F078-47E7-8D9C-C4776B9A3707}" type="pres">
      <dgm:prSet presAssocID="{7B5F8C26-E31E-4D72-AE35-37447C1D148B}" presName="Name25" presStyleLbl="parChTrans1D2" presStyleIdx="0" presStyleCnt="2"/>
      <dgm:spPr/>
    </dgm:pt>
    <dgm:pt modelId="{516904A2-CF16-430E-ABE6-83ECEC757F8B}" type="pres">
      <dgm:prSet presAssocID="{7B5F8C26-E31E-4D72-AE35-37447C1D148B}" presName="connTx" presStyleLbl="parChTrans1D2" presStyleIdx="0" presStyleCnt="2"/>
      <dgm:spPr/>
    </dgm:pt>
    <dgm:pt modelId="{5B4F0BE9-8432-4710-84A1-FEFBA1CE641B}" type="pres">
      <dgm:prSet presAssocID="{818CDE2F-78B3-4E35-8A8F-89A46015A7B2}" presName="Name30" presStyleCnt="0"/>
      <dgm:spPr/>
    </dgm:pt>
    <dgm:pt modelId="{49D2DD1B-CA1F-4F15-ADAB-D4B4C0956D97}" type="pres">
      <dgm:prSet presAssocID="{818CDE2F-78B3-4E35-8A8F-89A46015A7B2}" presName="level2Shape" presStyleLbl="node2" presStyleIdx="0" presStyleCnt="2"/>
      <dgm:spPr/>
    </dgm:pt>
    <dgm:pt modelId="{6A48FD4C-6980-4131-850D-52075E410DDB}" type="pres">
      <dgm:prSet presAssocID="{818CDE2F-78B3-4E35-8A8F-89A46015A7B2}" presName="hierChild3" presStyleCnt="0"/>
      <dgm:spPr/>
    </dgm:pt>
    <dgm:pt modelId="{2CB91D52-C587-411B-BD9B-5F90512EC0A5}" type="pres">
      <dgm:prSet presAssocID="{2394EBD1-8B48-4F2E-8F7D-901794B15AC8}" presName="Name25" presStyleLbl="parChTrans1D3" presStyleIdx="0" presStyleCnt="4"/>
      <dgm:spPr/>
    </dgm:pt>
    <dgm:pt modelId="{7912AC46-C8D8-4967-BB7F-28D583FFA1B3}" type="pres">
      <dgm:prSet presAssocID="{2394EBD1-8B48-4F2E-8F7D-901794B15AC8}" presName="connTx" presStyleLbl="parChTrans1D3" presStyleIdx="0" presStyleCnt="4"/>
      <dgm:spPr/>
    </dgm:pt>
    <dgm:pt modelId="{977A726D-2568-4420-8339-D7A731B7557D}" type="pres">
      <dgm:prSet presAssocID="{85950EC1-3C3E-43B9-B663-E5AC288919B6}" presName="Name30" presStyleCnt="0"/>
      <dgm:spPr/>
    </dgm:pt>
    <dgm:pt modelId="{0FA3EC30-89E8-470B-894E-5CCFD268F390}" type="pres">
      <dgm:prSet presAssocID="{85950EC1-3C3E-43B9-B663-E5AC288919B6}" presName="level2Shape" presStyleLbl="node3" presStyleIdx="0" presStyleCnt="4"/>
      <dgm:spPr/>
    </dgm:pt>
    <dgm:pt modelId="{5EF79DEB-3821-4CC3-B245-6A3576F08D83}" type="pres">
      <dgm:prSet presAssocID="{85950EC1-3C3E-43B9-B663-E5AC288919B6}" presName="hierChild3" presStyleCnt="0"/>
      <dgm:spPr/>
    </dgm:pt>
    <dgm:pt modelId="{F96D3184-A955-46BA-A339-C7B85E4457D6}" type="pres">
      <dgm:prSet presAssocID="{79459FA9-BA5A-4F84-9364-CC47AED5F552}" presName="Name25" presStyleLbl="parChTrans1D3" presStyleIdx="1" presStyleCnt="4"/>
      <dgm:spPr/>
    </dgm:pt>
    <dgm:pt modelId="{D39ABCEE-499E-4690-82D7-1621F6B28DA4}" type="pres">
      <dgm:prSet presAssocID="{79459FA9-BA5A-4F84-9364-CC47AED5F552}" presName="connTx" presStyleLbl="parChTrans1D3" presStyleIdx="1" presStyleCnt="4"/>
      <dgm:spPr/>
    </dgm:pt>
    <dgm:pt modelId="{3A7C5355-9489-4CE4-91B4-CFC858D77680}" type="pres">
      <dgm:prSet presAssocID="{D1F13673-5735-403D-B976-6869727516AF}" presName="Name30" presStyleCnt="0"/>
      <dgm:spPr/>
    </dgm:pt>
    <dgm:pt modelId="{2F44E76B-3C5E-49FF-AE6D-361C15F6FCCC}" type="pres">
      <dgm:prSet presAssocID="{D1F13673-5735-403D-B976-6869727516AF}" presName="level2Shape" presStyleLbl="node3" presStyleIdx="1" presStyleCnt="4"/>
      <dgm:spPr/>
    </dgm:pt>
    <dgm:pt modelId="{218F3F60-D435-4FE2-9148-9DB1B220A4DA}" type="pres">
      <dgm:prSet presAssocID="{D1F13673-5735-403D-B976-6869727516AF}" presName="hierChild3" presStyleCnt="0"/>
      <dgm:spPr/>
    </dgm:pt>
    <dgm:pt modelId="{D952A7BA-142D-442A-B0EC-EE0F5C3A2EA7}" type="pres">
      <dgm:prSet presAssocID="{6F3263C0-FAE1-4C0A-B0B1-83D3FC18EB98}" presName="Name25" presStyleLbl="parChTrans1D2" presStyleIdx="1" presStyleCnt="2"/>
      <dgm:spPr/>
    </dgm:pt>
    <dgm:pt modelId="{B32E5212-695D-4BB0-9621-A117967C9F0E}" type="pres">
      <dgm:prSet presAssocID="{6F3263C0-FAE1-4C0A-B0B1-83D3FC18EB98}" presName="connTx" presStyleLbl="parChTrans1D2" presStyleIdx="1" presStyleCnt="2"/>
      <dgm:spPr/>
    </dgm:pt>
    <dgm:pt modelId="{27785523-EE50-45AD-93B3-180D252B7C1A}" type="pres">
      <dgm:prSet presAssocID="{8BCC8DEB-581E-4BB6-87B6-05942376BBDD}" presName="Name30" presStyleCnt="0"/>
      <dgm:spPr/>
    </dgm:pt>
    <dgm:pt modelId="{0A706720-153F-4523-B184-1EF51C7B08F5}" type="pres">
      <dgm:prSet presAssocID="{8BCC8DEB-581E-4BB6-87B6-05942376BBDD}" presName="level2Shape" presStyleLbl="node2" presStyleIdx="1" presStyleCnt="2"/>
      <dgm:spPr/>
    </dgm:pt>
    <dgm:pt modelId="{D3A16127-CE30-4B21-BDFA-4874600D314F}" type="pres">
      <dgm:prSet presAssocID="{8BCC8DEB-581E-4BB6-87B6-05942376BBDD}" presName="hierChild3" presStyleCnt="0"/>
      <dgm:spPr/>
    </dgm:pt>
    <dgm:pt modelId="{0B689192-EC09-4763-9F85-152FABC18087}" type="pres">
      <dgm:prSet presAssocID="{231A843B-5BBE-4240-85FF-4AC266C772AB}" presName="Name25" presStyleLbl="parChTrans1D3" presStyleIdx="2" presStyleCnt="4"/>
      <dgm:spPr/>
    </dgm:pt>
    <dgm:pt modelId="{A410D268-4F77-48C2-89D6-F2C12CD6E255}" type="pres">
      <dgm:prSet presAssocID="{231A843B-5BBE-4240-85FF-4AC266C772AB}" presName="connTx" presStyleLbl="parChTrans1D3" presStyleIdx="2" presStyleCnt="4"/>
      <dgm:spPr/>
    </dgm:pt>
    <dgm:pt modelId="{8E65DA4D-C0DA-4EBF-873C-A297BB0ED0FF}" type="pres">
      <dgm:prSet presAssocID="{F6022BBA-A05A-42BF-B6CC-F90A651D3EF4}" presName="Name30" presStyleCnt="0"/>
      <dgm:spPr/>
    </dgm:pt>
    <dgm:pt modelId="{B34CC6B2-F808-48C8-8364-330E8A2E707D}" type="pres">
      <dgm:prSet presAssocID="{F6022BBA-A05A-42BF-B6CC-F90A651D3EF4}" presName="level2Shape" presStyleLbl="node3" presStyleIdx="2" presStyleCnt="4"/>
      <dgm:spPr/>
    </dgm:pt>
    <dgm:pt modelId="{5C010158-EFE1-4016-97D3-157DBB9CA008}" type="pres">
      <dgm:prSet presAssocID="{F6022BBA-A05A-42BF-B6CC-F90A651D3EF4}" presName="hierChild3" presStyleCnt="0"/>
      <dgm:spPr/>
    </dgm:pt>
    <dgm:pt modelId="{61C43142-90FB-4BDD-AF70-BB606AE83217}" type="pres">
      <dgm:prSet presAssocID="{2C2F6CE0-04BD-4FA8-94B8-5D249D51ABF8}" presName="Name25" presStyleLbl="parChTrans1D3" presStyleIdx="3" presStyleCnt="4"/>
      <dgm:spPr/>
    </dgm:pt>
    <dgm:pt modelId="{CA758CCB-E034-44C8-84DE-A96F4C3F95D2}" type="pres">
      <dgm:prSet presAssocID="{2C2F6CE0-04BD-4FA8-94B8-5D249D51ABF8}" presName="connTx" presStyleLbl="parChTrans1D3" presStyleIdx="3" presStyleCnt="4"/>
      <dgm:spPr/>
    </dgm:pt>
    <dgm:pt modelId="{2757B302-3465-48DB-984A-4E33B2818581}" type="pres">
      <dgm:prSet presAssocID="{F46B3D9C-77BD-4806-B669-210044CFB7AA}" presName="Name30" presStyleCnt="0"/>
      <dgm:spPr/>
    </dgm:pt>
    <dgm:pt modelId="{A669329B-D9E2-4CC5-A0CA-FCADDB16A5EA}" type="pres">
      <dgm:prSet presAssocID="{F46B3D9C-77BD-4806-B669-210044CFB7AA}" presName="level2Shape" presStyleLbl="node3" presStyleIdx="3" presStyleCnt="4"/>
      <dgm:spPr/>
    </dgm:pt>
    <dgm:pt modelId="{29420304-CAFA-46D5-AEE6-4F3D8CFBC6CF}" type="pres">
      <dgm:prSet presAssocID="{F46B3D9C-77BD-4806-B669-210044CFB7AA}" presName="hierChild3" presStyleCnt="0"/>
      <dgm:spPr/>
    </dgm:pt>
    <dgm:pt modelId="{9D5B283F-C924-44A4-95BF-1319A2C200FD}" type="pres">
      <dgm:prSet presAssocID="{BCB0F5E0-841E-4070-A1BB-A254B124F66C}" presName="bgShapesFlow" presStyleCnt="0"/>
      <dgm:spPr/>
    </dgm:pt>
    <dgm:pt modelId="{4958F08B-C3B0-4D8C-BF04-8E93D2C3887D}" type="pres">
      <dgm:prSet presAssocID="{BFD9E5C9-B801-4D4C-8BFE-CBB400BB9EF0}" presName="rectComp" presStyleCnt="0"/>
      <dgm:spPr/>
    </dgm:pt>
    <dgm:pt modelId="{9CA81732-F4CE-49F5-ABCC-BC29C9215BD6}" type="pres">
      <dgm:prSet presAssocID="{BFD9E5C9-B801-4D4C-8BFE-CBB400BB9EF0}" presName="bgRect" presStyleLbl="bgShp" presStyleIdx="0" presStyleCnt="3"/>
      <dgm:spPr/>
    </dgm:pt>
    <dgm:pt modelId="{697FD07A-0839-44E6-87A8-DC6E84624732}" type="pres">
      <dgm:prSet presAssocID="{BFD9E5C9-B801-4D4C-8BFE-CBB400BB9EF0}" presName="bgRectTx" presStyleLbl="bgShp" presStyleIdx="0" presStyleCnt="3">
        <dgm:presLayoutVars>
          <dgm:bulletEnabled val="1"/>
        </dgm:presLayoutVars>
      </dgm:prSet>
      <dgm:spPr/>
    </dgm:pt>
    <dgm:pt modelId="{0E0E39E4-7415-49AD-803D-22A8D8D60577}" type="pres">
      <dgm:prSet presAssocID="{BFD9E5C9-B801-4D4C-8BFE-CBB400BB9EF0}" presName="spComp" presStyleCnt="0"/>
      <dgm:spPr/>
    </dgm:pt>
    <dgm:pt modelId="{214A256C-DF6C-401F-BA89-F82937365672}" type="pres">
      <dgm:prSet presAssocID="{BFD9E5C9-B801-4D4C-8BFE-CBB400BB9EF0}" presName="hSp" presStyleCnt="0"/>
      <dgm:spPr/>
    </dgm:pt>
    <dgm:pt modelId="{7DD2269D-A0C0-4C0F-A342-B05DB925C874}" type="pres">
      <dgm:prSet presAssocID="{A222EA61-15BD-4D2F-88CD-07864F586B23}" presName="rectComp" presStyleCnt="0"/>
      <dgm:spPr/>
    </dgm:pt>
    <dgm:pt modelId="{31FCEB4A-D007-4636-8AFC-FBF64741107A}" type="pres">
      <dgm:prSet presAssocID="{A222EA61-15BD-4D2F-88CD-07864F586B23}" presName="bgRect" presStyleLbl="bgShp" presStyleIdx="1" presStyleCnt="3"/>
      <dgm:spPr/>
    </dgm:pt>
    <dgm:pt modelId="{0A658FD7-D2BD-4DE3-918C-7A26FC1964BC}" type="pres">
      <dgm:prSet presAssocID="{A222EA61-15BD-4D2F-88CD-07864F586B23}" presName="bgRectTx" presStyleLbl="bgShp" presStyleIdx="1" presStyleCnt="3">
        <dgm:presLayoutVars>
          <dgm:bulletEnabled val="1"/>
        </dgm:presLayoutVars>
      </dgm:prSet>
      <dgm:spPr/>
    </dgm:pt>
    <dgm:pt modelId="{A7C1493F-FC46-4367-BE8B-1C0A592C8DFB}" type="pres">
      <dgm:prSet presAssocID="{A222EA61-15BD-4D2F-88CD-07864F586B23}" presName="spComp" presStyleCnt="0"/>
      <dgm:spPr/>
    </dgm:pt>
    <dgm:pt modelId="{6B51EB0B-C1AD-4B4A-8219-14A3060E84B8}" type="pres">
      <dgm:prSet presAssocID="{A222EA61-15BD-4D2F-88CD-07864F586B23}" presName="hSp" presStyleCnt="0"/>
      <dgm:spPr/>
    </dgm:pt>
    <dgm:pt modelId="{376F853D-9562-4AED-A33E-751679D6134D}" type="pres">
      <dgm:prSet presAssocID="{957E98B2-B978-4E01-B193-5ADF95B16D6B}" presName="rectComp" presStyleCnt="0"/>
      <dgm:spPr/>
    </dgm:pt>
    <dgm:pt modelId="{4197D089-C911-435A-92D4-FC075C87574E}" type="pres">
      <dgm:prSet presAssocID="{957E98B2-B978-4E01-B193-5ADF95B16D6B}" presName="bgRect" presStyleLbl="bgShp" presStyleIdx="2" presStyleCnt="3"/>
      <dgm:spPr/>
    </dgm:pt>
    <dgm:pt modelId="{F0B66C4C-9FC4-4092-921A-143AF7B67B79}" type="pres">
      <dgm:prSet presAssocID="{957E98B2-B978-4E01-B193-5ADF95B16D6B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53903400-9DE9-4EF3-A1AA-9ECA95623F25}" type="presOf" srcId="{BFD9E5C9-B801-4D4C-8BFE-CBB400BB9EF0}" destId="{9CA81732-F4CE-49F5-ABCC-BC29C9215BD6}" srcOrd="0" destOrd="0" presId="urn:microsoft.com/office/officeart/2005/8/layout/hierarchy5"/>
    <dgm:cxn modelId="{ABA24404-EE35-406B-B784-D9C8FE1412ED}" srcId="{BCB0F5E0-841E-4070-A1BB-A254B124F66C}" destId="{87201BB1-395D-4B1F-88E0-55E6FBBBDD99}" srcOrd="0" destOrd="0" parTransId="{CBBA80A2-1456-4DE9-A48B-C3CC12138D69}" sibTransId="{E9DF15E5-06BC-4E9C-B315-17F64B41459A}"/>
    <dgm:cxn modelId="{88C6CA15-AFC1-430F-988F-A48CB1104DE8}" type="presOf" srcId="{F6022BBA-A05A-42BF-B6CC-F90A651D3EF4}" destId="{B34CC6B2-F808-48C8-8364-330E8A2E707D}" srcOrd="0" destOrd="0" presId="urn:microsoft.com/office/officeart/2005/8/layout/hierarchy5"/>
    <dgm:cxn modelId="{8DA5A816-23A3-4309-BE9A-1BA0114C6259}" srcId="{BCB0F5E0-841E-4070-A1BB-A254B124F66C}" destId="{BFD9E5C9-B801-4D4C-8BFE-CBB400BB9EF0}" srcOrd="1" destOrd="0" parTransId="{099D564D-7511-42EA-9D94-320727F4EDD9}" sibTransId="{FC620551-341B-49C8-AA26-615A4857D1BE}"/>
    <dgm:cxn modelId="{C7BAA11C-1D62-4A89-B106-958D062DE690}" srcId="{818CDE2F-78B3-4E35-8A8F-89A46015A7B2}" destId="{85950EC1-3C3E-43B9-B663-E5AC288919B6}" srcOrd="0" destOrd="0" parTransId="{2394EBD1-8B48-4F2E-8F7D-901794B15AC8}" sibTransId="{5F900CEC-9A93-4D43-90FA-468A0AE8C1DD}"/>
    <dgm:cxn modelId="{2A830622-0DC3-4ECB-820A-27F8CCA19B34}" type="presOf" srcId="{79459FA9-BA5A-4F84-9364-CC47AED5F552}" destId="{F96D3184-A955-46BA-A339-C7B85E4457D6}" srcOrd="0" destOrd="0" presId="urn:microsoft.com/office/officeart/2005/8/layout/hierarchy5"/>
    <dgm:cxn modelId="{52DA1530-5EC4-4D7E-AA52-52D05DD5E5B8}" type="presOf" srcId="{7B5F8C26-E31E-4D72-AE35-37447C1D148B}" destId="{4F6071C6-F078-47E7-8D9C-C4776B9A3707}" srcOrd="0" destOrd="0" presId="urn:microsoft.com/office/officeart/2005/8/layout/hierarchy5"/>
    <dgm:cxn modelId="{B9D17632-0EF2-4D7D-A3B9-653196EB4CCA}" type="presOf" srcId="{A222EA61-15BD-4D2F-88CD-07864F586B23}" destId="{0A658FD7-D2BD-4DE3-918C-7A26FC1964BC}" srcOrd="1" destOrd="0" presId="urn:microsoft.com/office/officeart/2005/8/layout/hierarchy5"/>
    <dgm:cxn modelId="{376F8A5C-3656-43A2-8672-B42D66CFA80F}" type="presOf" srcId="{957E98B2-B978-4E01-B193-5ADF95B16D6B}" destId="{F0B66C4C-9FC4-4092-921A-143AF7B67B79}" srcOrd="1" destOrd="0" presId="urn:microsoft.com/office/officeart/2005/8/layout/hierarchy5"/>
    <dgm:cxn modelId="{42F2785D-6B6C-4FF8-B405-C0A5E729EF89}" srcId="{8BCC8DEB-581E-4BB6-87B6-05942376BBDD}" destId="{F46B3D9C-77BD-4806-B669-210044CFB7AA}" srcOrd="1" destOrd="0" parTransId="{2C2F6CE0-04BD-4FA8-94B8-5D249D51ABF8}" sibTransId="{6EB71436-5A87-4282-B60D-248019120C6E}"/>
    <dgm:cxn modelId="{30389642-448A-4068-9455-49CF9F0F9ECF}" srcId="{8BCC8DEB-581E-4BB6-87B6-05942376BBDD}" destId="{F6022BBA-A05A-42BF-B6CC-F90A651D3EF4}" srcOrd="0" destOrd="0" parTransId="{231A843B-5BBE-4240-85FF-4AC266C772AB}" sibTransId="{BE40F9BE-92AE-4D82-B453-A014DB7B2715}"/>
    <dgm:cxn modelId="{BD55CD4A-0EDA-446F-A3F9-AA10473FC9F2}" type="presOf" srcId="{87201BB1-395D-4B1F-88E0-55E6FBBBDD99}" destId="{C3192294-998D-4925-9864-0F5493BE1276}" srcOrd="0" destOrd="0" presId="urn:microsoft.com/office/officeart/2005/8/layout/hierarchy5"/>
    <dgm:cxn modelId="{D9E06171-F0FE-4427-9822-FDF502CBAED6}" type="presOf" srcId="{79459FA9-BA5A-4F84-9364-CC47AED5F552}" destId="{D39ABCEE-499E-4690-82D7-1621F6B28DA4}" srcOrd="1" destOrd="0" presId="urn:microsoft.com/office/officeart/2005/8/layout/hierarchy5"/>
    <dgm:cxn modelId="{2AEB4476-4AF9-4D1C-8A53-8643C268D3C2}" type="presOf" srcId="{818CDE2F-78B3-4E35-8A8F-89A46015A7B2}" destId="{49D2DD1B-CA1F-4F15-ADAB-D4B4C0956D97}" srcOrd="0" destOrd="0" presId="urn:microsoft.com/office/officeart/2005/8/layout/hierarchy5"/>
    <dgm:cxn modelId="{23970E59-CE9B-4907-937F-0581FE51B139}" srcId="{87201BB1-395D-4B1F-88E0-55E6FBBBDD99}" destId="{818CDE2F-78B3-4E35-8A8F-89A46015A7B2}" srcOrd="0" destOrd="0" parTransId="{7B5F8C26-E31E-4D72-AE35-37447C1D148B}" sibTransId="{04E98F9C-8223-454E-A32B-009E0B784823}"/>
    <dgm:cxn modelId="{23EFF87E-B4F4-4405-87B3-7373B82C2CC4}" type="presOf" srcId="{D1F13673-5735-403D-B976-6869727516AF}" destId="{2F44E76B-3C5E-49FF-AE6D-361C15F6FCCC}" srcOrd="0" destOrd="0" presId="urn:microsoft.com/office/officeart/2005/8/layout/hierarchy5"/>
    <dgm:cxn modelId="{1729CB85-9549-4AF4-9AC9-8024A7A573B6}" srcId="{87201BB1-395D-4B1F-88E0-55E6FBBBDD99}" destId="{8BCC8DEB-581E-4BB6-87B6-05942376BBDD}" srcOrd="1" destOrd="0" parTransId="{6F3263C0-FAE1-4C0A-B0B1-83D3FC18EB98}" sibTransId="{A31A9101-1166-4D5C-A987-21B2F8C5A1BD}"/>
    <dgm:cxn modelId="{89725586-9F0D-4153-B831-4DB00A8B2A07}" type="presOf" srcId="{2394EBD1-8B48-4F2E-8F7D-901794B15AC8}" destId="{7912AC46-C8D8-4967-BB7F-28D583FFA1B3}" srcOrd="1" destOrd="0" presId="urn:microsoft.com/office/officeart/2005/8/layout/hierarchy5"/>
    <dgm:cxn modelId="{E35D058A-6FAC-43AC-B4AA-183857C73AAA}" type="presOf" srcId="{F46B3D9C-77BD-4806-B669-210044CFB7AA}" destId="{A669329B-D9E2-4CC5-A0CA-FCADDB16A5EA}" srcOrd="0" destOrd="0" presId="urn:microsoft.com/office/officeart/2005/8/layout/hierarchy5"/>
    <dgm:cxn modelId="{4CEF0F8D-814D-4E26-B2C1-FCAD952017A3}" type="presOf" srcId="{6F3263C0-FAE1-4C0A-B0B1-83D3FC18EB98}" destId="{B32E5212-695D-4BB0-9621-A117967C9F0E}" srcOrd="1" destOrd="0" presId="urn:microsoft.com/office/officeart/2005/8/layout/hierarchy5"/>
    <dgm:cxn modelId="{5C8F2B92-565D-486A-8865-3BDFDF21439D}" type="presOf" srcId="{7B5F8C26-E31E-4D72-AE35-37447C1D148B}" destId="{516904A2-CF16-430E-ABE6-83ECEC757F8B}" srcOrd="1" destOrd="0" presId="urn:microsoft.com/office/officeart/2005/8/layout/hierarchy5"/>
    <dgm:cxn modelId="{3EC4A499-27DD-4232-A6CC-DA4039A45C8E}" type="presOf" srcId="{2C2F6CE0-04BD-4FA8-94B8-5D249D51ABF8}" destId="{61C43142-90FB-4BDD-AF70-BB606AE83217}" srcOrd="0" destOrd="0" presId="urn:microsoft.com/office/officeart/2005/8/layout/hierarchy5"/>
    <dgm:cxn modelId="{5321709F-B4CD-49F9-86E5-88EA1D186330}" type="presOf" srcId="{231A843B-5BBE-4240-85FF-4AC266C772AB}" destId="{A410D268-4F77-48C2-89D6-F2C12CD6E255}" srcOrd="1" destOrd="0" presId="urn:microsoft.com/office/officeart/2005/8/layout/hierarchy5"/>
    <dgm:cxn modelId="{0665EBA4-0969-4877-B6A1-9523C67D3349}" srcId="{818CDE2F-78B3-4E35-8A8F-89A46015A7B2}" destId="{D1F13673-5735-403D-B976-6869727516AF}" srcOrd="1" destOrd="0" parTransId="{79459FA9-BA5A-4F84-9364-CC47AED5F552}" sibTransId="{836D4AF3-5A55-4ECF-B301-D06A01FD1C65}"/>
    <dgm:cxn modelId="{3B3E3BBD-2BF3-4CEF-8263-2B507E594723}" type="presOf" srcId="{A222EA61-15BD-4D2F-88CD-07864F586B23}" destId="{31FCEB4A-D007-4636-8AFC-FBF64741107A}" srcOrd="0" destOrd="0" presId="urn:microsoft.com/office/officeart/2005/8/layout/hierarchy5"/>
    <dgm:cxn modelId="{7F47CBC5-D3EB-40FE-B599-AE403C13AD2C}" type="presOf" srcId="{BCB0F5E0-841E-4070-A1BB-A254B124F66C}" destId="{8D58C0C5-60A4-454D-A7C7-6670E675C8DA}" srcOrd="0" destOrd="0" presId="urn:microsoft.com/office/officeart/2005/8/layout/hierarchy5"/>
    <dgm:cxn modelId="{65C700C7-B632-40DB-8544-CB8805FCD28C}" type="presOf" srcId="{BFD9E5C9-B801-4D4C-8BFE-CBB400BB9EF0}" destId="{697FD07A-0839-44E6-87A8-DC6E84624732}" srcOrd="1" destOrd="0" presId="urn:microsoft.com/office/officeart/2005/8/layout/hierarchy5"/>
    <dgm:cxn modelId="{5FC625C7-D8BC-48A2-BE04-A6FED5E9A09A}" type="presOf" srcId="{957E98B2-B978-4E01-B193-5ADF95B16D6B}" destId="{4197D089-C911-435A-92D4-FC075C87574E}" srcOrd="0" destOrd="0" presId="urn:microsoft.com/office/officeart/2005/8/layout/hierarchy5"/>
    <dgm:cxn modelId="{55ED46CA-2EB0-460F-A1DE-38EBE5F4F950}" type="presOf" srcId="{231A843B-5BBE-4240-85FF-4AC266C772AB}" destId="{0B689192-EC09-4763-9F85-152FABC18087}" srcOrd="0" destOrd="0" presId="urn:microsoft.com/office/officeart/2005/8/layout/hierarchy5"/>
    <dgm:cxn modelId="{D49C16D3-DBA2-4118-947A-1D8D7B1F8D91}" type="presOf" srcId="{2C2F6CE0-04BD-4FA8-94B8-5D249D51ABF8}" destId="{CA758CCB-E034-44C8-84DE-A96F4C3F95D2}" srcOrd="1" destOrd="0" presId="urn:microsoft.com/office/officeart/2005/8/layout/hierarchy5"/>
    <dgm:cxn modelId="{4CFE01D5-FF21-48F4-9227-78AA58D65CE7}" srcId="{BCB0F5E0-841E-4070-A1BB-A254B124F66C}" destId="{A222EA61-15BD-4D2F-88CD-07864F586B23}" srcOrd="2" destOrd="0" parTransId="{58B9BBCF-7A9C-4FD2-9E9C-98EFA48378B7}" sibTransId="{2CD13829-3DAC-4CC9-9737-B472831E82BF}"/>
    <dgm:cxn modelId="{1830B5D7-8592-4A16-95D9-8DF9EDD661F8}" type="presOf" srcId="{6F3263C0-FAE1-4C0A-B0B1-83D3FC18EB98}" destId="{D952A7BA-142D-442A-B0EC-EE0F5C3A2EA7}" srcOrd="0" destOrd="0" presId="urn:microsoft.com/office/officeart/2005/8/layout/hierarchy5"/>
    <dgm:cxn modelId="{150686EF-9900-4258-AE67-B409637C2EB6}" type="presOf" srcId="{2394EBD1-8B48-4F2E-8F7D-901794B15AC8}" destId="{2CB91D52-C587-411B-BD9B-5F90512EC0A5}" srcOrd="0" destOrd="0" presId="urn:microsoft.com/office/officeart/2005/8/layout/hierarchy5"/>
    <dgm:cxn modelId="{604B3DF2-BCAC-43A9-8589-E075CA271E03}" type="presOf" srcId="{8BCC8DEB-581E-4BB6-87B6-05942376BBDD}" destId="{0A706720-153F-4523-B184-1EF51C7B08F5}" srcOrd="0" destOrd="0" presId="urn:microsoft.com/office/officeart/2005/8/layout/hierarchy5"/>
    <dgm:cxn modelId="{B08ACBF3-866A-4549-AA96-D492399FA428}" type="presOf" srcId="{85950EC1-3C3E-43B9-B663-E5AC288919B6}" destId="{0FA3EC30-89E8-470B-894E-5CCFD268F390}" srcOrd="0" destOrd="0" presId="urn:microsoft.com/office/officeart/2005/8/layout/hierarchy5"/>
    <dgm:cxn modelId="{1D992BF4-2294-43ED-83C8-6985507BC222}" srcId="{BCB0F5E0-841E-4070-A1BB-A254B124F66C}" destId="{957E98B2-B978-4E01-B193-5ADF95B16D6B}" srcOrd="3" destOrd="0" parTransId="{79FF90AC-15B2-4B3E-A700-C70A295E5F80}" sibTransId="{813B2701-47BA-4C17-9230-B5208A2AC5A7}"/>
    <dgm:cxn modelId="{4863F40C-9EA2-425F-88EF-1FC625E19418}" type="presParOf" srcId="{8D58C0C5-60A4-454D-A7C7-6670E675C8DA}" destId="{782F5A9B-6D74-4C44-A0AB-D64B523B846F}" srcOrd="0" destOrd="0" presId="urn:microsoft.com/office/officeart/2005/8/layout/hierarchy5"/>
    <dgm:cxn modelId="{9CFEF498-7453-4394-BD4E-90D37242E818}" type="presParOf" srcId="{782F5A9B-6D74-4C44-A0AB-D64B523B846F}" destId="{75D2F864-9FDA-49F6-BF26-534372737C90}" srcOrd="0" destOrd="0" presId="urn:microsoft.com/office/officeart/2005/8/layout/hierarchy5"/>
    <dgm:cxn modelId="{6743C4F2-B6C5-405D-8459-2AB929E93F6A}" type="presParOf" srcId="{782F5A9B-6D74-4C44-A0AB-D64B523B846F}" destId="{58B47886-01D9-4BD3-8F33-6DD1DC14CC64}" srcOrd="1" destOrd="0" presId="urn:microsoft.com/office/officeart/2005/8/layout/hierarchy5"/>
    <dgm:cxn modelId="{36541BE4-A1E9-40E1-B637-F71A3FAA2C47}" type="presParOf" srcId="{58B47886-01D9-4BD3-8F33-6DD1DC14CC64}" destId="{F3187D92-366E-45D7-8EB8-5EB012ECF93D}" srcOrd="0" destOrd="0" presId="urn:microsoft.com/office/officeart/2005/8/layout/hierarchy5"/>
    <dgm:cxn modelId="{747DE87A-A6B7-473B-9074-18B1C3F79F70}" type="presParOf" srcId="{F3187D92-366E-45D7-8EB8-5EB012ECF93D}" destId="{C3192294-998D-4925-9864-0F5493BE1276}" srcOrd="0" destOrd="0" presId="urn:microsoft.com/office/officeart/2005/8/layout/hierarchy5"/>
    <dgm:cxn modelId="{BE056507-50B2-4F94-B4B3-2ED4DF8527EE}" type="presParOf" srcId="{F3187D92-366E-45D7-8EB8-5EB012ECF93D}" destId="{A674F10B-F594-46A0-9305-275AB217B08D}" srcOrd="1" destOrd="0" presId="urn:microsoft.com/office/officeart/2005/8/layout/hierarchy5"/>
    <dgm:cxn modelId="{6704BEC0-C1E0-4019-AD5A-D0DC0DA68F79}" type="presParOf" srcId="{A674F10B-F594-46A0-9305-275AB217B08D}" destId="{4F6071C6-F078-47E7-8D9C-C4776B9A3707}" srcOrd="0" destOrd="0" presId="urn:microsoft.com/office/officeart/2005/8/layout/hierarchy5"/>
    <dgm:cxn modelId="{AFAA6901-84DC-40B1-B051-B6E767A3BEAC}" type="presParOf" srcId="{4F6071C6-F078-47E7-8D9C-C4776B9A3707}" destId="{516904A2-CF16-430E-ABE6-83ECEC757F8B}" srcOrd="0" destOrd="0" presId="urn:microsoft.com/office/officeart/2005/8/layout/hierarchy5"/>
    <dgm:cxn modelId="{69ABD79D-5C29-4E92-A1E5-F28D14748E30}" type="presParOf" srcId="{A674F10B-F594-46A0-9305-275AB217B08D}" destId="{5B4F0BE9-8432-4710-84A1-FEFBA1CE641B}" srcOrd="1" destOrd="0" presId="urn:microsoft.com/office/officeart/2005/8/layout/hierarchy5"/>
    <dgm:cxn modelId="{9E26E2E9-EA03-4B4B-9C03-D8472A6C6C5C}" type="presParOf" srcId="{5B4F0BE9-8432-4710-84A1-FEFBA1CE641B}" destId="{49D2DD1B-CA1F-4F15-ADAB-D4B4C0956D97}" srcOrd="0" destOrd="0" presId="urn:microsoft.com/office/officeart/2005/8/layout/hierarchy5"/>
    <dgm:cxn modelId="{969BE8D5-FE9C-417B-A382-58EC56A8CD8D}" type="presParOf" srcId="{5B4F0BE9-8432-4710-84A1-FEFBA1CE641B}" destId="{6A48FD4C-6980-4131-850D-52075E410DDB}" srcOrd="1" destOrd="0" presId="urn:microsoft.com/office/officeart/2005/8/layout/hierarchy5"/>
    <dgm:cxn modelId="{630B6ADF-DA68-4FF7-9FC1-0F1789F3DB16}" type="presParOf" srcId="{6A48FD4C-6980-4131-850D-52075E410DDB}" destId="{2CB91D52-C587-411B-BD9B-5F90512EC0A5}" srcOrd="0" destOrd="0" presId="urn:microsoft.com/office/officeart/2005/8/layout/hierarchy5"/>
    <dgm:cxn modelId="{4EC4E7F7-01A0-460B-BF9E-BB03611C1440}" type="presParOf" srcId="{2CB91D52-C587-411B-BD9B-5F90512EC0A5}" destId="{7912AC46-C8D8-4967-BB7F-28D583FFA1B3}" srcOrd="0" destOrd="0" presId="urn:microsoft.com/office/officeart/2005/8/layout/hierarchy5"/>
    <dgm:cxn modelId="{B98A5B8E-DC40-43F9-A8C8-393900137A9C}" type="presParOf" srcId="{6A48FD4C-6980-4131-850D-52075E410DDB}" destId="{977A726D-2568-4420-8339-D7A731B7557D}" srcOrd="1" destOrd="0" presId="urn:microsoft.com/office/officeart/2005/8/layout/hierarchy5"/>
    <dgm:cxn modelId="{791422AF-45C3-47F8-9645-41CAEFB261F1}" type="presParOf" srcId="{977A726D-2568-4420-8339-D7A731B7557D}" destId="{0FA3EC30-89E8-470B-894E-5CCFD268F390}" srcOrd="0" destOrd="0" presId="urn:microsoft.com/office/officeart/2005/8/layout/hierarchy5"/>
    <dgm:cxn modelId="{BE20EF3F-6EBA-4B0E-8647-547B6F614764}" type="presParOf" srcId="{977A726D-2568-4420-8339-D7A731B7557D}" destId="{5EF79DEB-3821-4CC3-B245-6A3576F08D83}" srcOrd="1" destOrd="0" presId="urn:microsoft.com/office/officeart/2005/8/layout/hierarchy5"/>
    <dgm:cxn modelId="{5C31EC35-A254-4B0C-8CA2-BB0AAD56A472}" type="presParOf" srcId="{6A48FD4C-6980-4131-850D-52075E410DDB}" destId="{F96D3184-A955-46BA-A339-C7B85E4457D6}" srcOrd="2" destOrd="0" presId="urn:microsoft.com/office/officeart/2005/8/layout/hierarchy5"/>
    <dgm:cxn modelId="{54BFFAE1-7C74-42BB-B2AC-C0D8740E362E}" type="presParOf" srcId="{F96D3184-A955-46BA-A339-C7B85E4457D6}" destId="{D39ABCEE-499E-4690-82D7-1621F6B28DA4}" srcOrd="0" destOrd="0" presId="urn:microsoft.com/office/officeart/2005/8/layout/hierarchy5"/>
    <dgm:cxn modelId="{157110D8-5F56-44B6-8EA0-81C69027EA38}" type="presParOf" srcId="{6A48FD4C-6980-4131-850D-52075E410DDB}" destId="{3A7C5355-9489-4CE4-91B4-CFC858D77680}" srcOrd="3" destOrd="0" presId="urn:microsoft.com/office/officeart/2005/8/layout/hierarchy5"/>
    <dgm:cxn modelId="{F8B3DEC4-EDC3-465D-AFC3-A8C8E4B8CA4D}" type="presParOf" srcId="{3A7C5355-9489-4CE4-91B4-CFC858D77680}" destId="{2F44E76B-3C5E-49FF-AE6D-361C15F6FCCC}" srcOrd="0" destOrd="0" presId="urn:microsoft.com/office/officeart/2005/8/layout/hierarchy5"/>
    <dgm:cxn modelId="{98944E01-C240-4AA2-8781-C786D1F1F1F0}" type="presParOf" srcId="{3A7C5355-9489-4CE4-91B4-CFC858D77680}" destId="{218F3F60-D435-4FE2-9148-9DB1B220A4DA}" srcOrd="1" destOrd="0" presId="urn:microsoft.com/office/officeart/2005/8/layout/hierarchy5"/>
    <dgm:cxn modelId="{ECB45EDC-BAB2-4966-8C8A-FE14817F7336}" type="presParOf" srcId="{A674F10B-F594-46A0-9305-275AB217B08D}" destId="{D952A7BA-142D-442A-B0EC-EE0F5C3A2EA7}" srcOrd="2" destOrd="0" presId="urn:microsoft.com/office/officeart/2005/8/layout/hierarchy5"/>
    <dgm:cxn modelId="{6D1B3CDC-1106-4112-AA4F-5E99697BF1AA}" type="presParOf" srcId="{D952A7BA-142D-442A-B0EC-EE0F5C3A2EA7}" destId="{B32E5212-695D-4BB0-9621-A117967C9F0E}" srcOrd="0" destOrd="0" presId="urn:microsoft.com/office/officeart/2005/8/layout/hierarchy5"/>
    <dgm:cxn modelId="{EE552DF4-D2C4-4287-8B8A-905C0532CD70}" type="presParOf" srcId="{A674F10B-F594-46A0-9305-275AB217B08D}" destId="{27785523-EE50-45AD-93B3-180D252B7C1A}" srcOrd="3" destOrd="0" presId="urn:microsoft.com/office/officeart/2005/8/layout/hierarchy5"/>
    <dgm:cxn modelId="{608D087C-9C89-44D3-B5A7-B087520D9959}" type="presParOf" srcId="{27785523-EE50-45AD-93B3-180D252B7C1A}" destId="{0A706720-153F-4523-B184-1EF51C7B08F5}" srcOrd="0" destOrd="0" presId="urn:microsoft.com/office/officeart/2005/8/layout/hierarchy5"/>
    <dgm:cxn modelId="{CAF27A94-1513-43F2-BA50-8E312B2C5F9C}" type="presParOf" srcId="{27785523-EE50-45AD-93B3-180D252B7C1A}" destId="{D3A16127-CE30-4B21-BDFA-4874600D314F}" srcOrd="1" destOrd="0" presId="urn:microsoft.com/office/officeart/2005/8/layout/hierarchy5"/>
    <dgm:cxn modelId="{3D1786AC-1815-4D95-95B2-750C446B6A2D}" type="presParOf" srcId="{D3A16127-CE30-4B21-BDFA-4874600D314F}" destId="{0B689192-EC09-4763-9F85-152FABC18087}" srcOrd="0" destOrd="0" presId="urn:microsoft.com/office/officeart/2005/8/layout/hierarchy5"/>
    <dgm:cxn modelId="{756B9712-B90E-4352-A85D-EE30A30245A1}" type="presParOf" srcId="{0B689192-EC09-4763-9F85-152FABC18087}" destId="{A410D268-4F77-48C2-89D6-F2C12CD6E255}" srcOrd="0" destOrd="0" presId="urn:microsoft.com/office/officeart/2005/8/layout/hierarchy5"/>
    <dgm:cxn modelId="{F7C2FA81-4716-4450-8AC0-9CA8B5C84870}" type="presParOf" srcId="{D3A16127-CE30-4B21-BDFA-4874600D314F}" destId="{8E65DA4D-C0DA-4EBF-873C-A297BB0ED0FF}" srcOrd="1" destOrd="0" presId="urn:microsoft.com/office/officeart/2005/8/layout/hierarchy5"/>
    <dgm:cxn modelId="{DF31E8A7-5DA0-485A-976C-B63018BAF679}" type="presParOf" srcId="{8E65DA4D-C0DA-4EBF-873C-A297BB0ED0FF}" destId="{B34CC6B2-F808-48C8-8364-330E8A2E707D}" srcOrd="0" destOrd="0" presId="urn:microsoft.com/office/officeart/2005/8/layout/hierarchy5"/>
    <dgm:cxn modelId="{5883131A-43CF-46C1-A21C-54DE129E7BD4}" type="presParOf" srcId="{8E65DA4D-C0DA-4EBF-873C-A297BB0ED0FF}" destId="{5C010158-EFE1-4016-97D3-157DBB9CA008}" srcOrd="1" destOrd="0" presId="urn:microsoft.com/office/officeart/2005/8/layout/hierarchy5"/>
    <dgm:cxn modelId="{402E1567-7ADD-43E6-BC3F-42F099CA9B40}" type="presParOf" srcId="{D3A16127-CE30-4B21-BDFA-4874600D314F}" destId="{61C43142-90FB-4BDD-AF70-BB606AE83217}" srcOrd="2" destOrd="0" presId="urn:microsoft.com/office/officeart/2005/8/layout/hierarchy5"/>
    <dgm:cxn modelId="{2FC9DDE3-89F7-4ECC-93FD-9FA215EF4F8E}" type="presParOf" srcId="{61C43142-90FB-4BDD-AF70-BB606AE83217}" destId="{CA758CCB-E034-44C8-84DE-A96F4C3F95D2}" srcOrd="0" destOrd="0" presId="urn:microsoft.com/office/officeart/2005/8/layout/hierarchy5"/>
    <dgm:cxn modelId="{7A4246AE-D075-4DF1-98B2-76576CC7984A}" type="presParOf" srcId="{D3A16127-CE30-4B21-BDFA-4874600D314F}" destId="{2757B302-3465-48DB-984A-4E33B2818581}" srcOrd="3" destOrd="0" presId="urn:microsoft.com/office/officeart/2005/8/layout/hierarchy5"/>
    <dgm:cxn modelId="{173DB87D-1713-4C26-AB6C-0A910BF5989F}" type="presParOf" srcId="{2757B302-3465-48DB-984A-4E33B2818581}" destId="{A669329B-D9E2-4CC5-A0CA-FCADDB16A5EA}" srcOrd="0" destOrd="0" presId="urn:microsoft.com/office/officeart/2005/8/layout/hierarchy5"/>
    <dgm:cxn modelId="{6B17EBE7-52C1-4215-AEBD-638CFB97F5CF}" type="presParOf" srcId="{2757B302-3465-48DB-984A-4E33B2818581}" destId="{29420304-CAFA-46D5-AEE6-4F3D8CFBC6CF}" srcOrd="1" destOrd="0" presId="urn:microsoft.com/office/officeart/2005/8/layout/hierarchy5"/>
    <dgm:cxn modelId="{8380C527-4D2B-4446-9C10-B6D9B91E4391}" type="presParOf" srcId="{8D58C0C5-60A4-454D-A7C7-6670E675C8DA}" destId="{9D5B283F-C924-44A4-95BF-1319A2C200FD}" srcOrd="1" destOrd="0" presId="urn:microsoft.com/office/officeart/2005/8/layout/hierarchy5"/>
    <dgm:cxn modelId="{F46B82D1-E55B-4F7B-9C97-3C99051EFD08}" type="presParOf" srcId="{9D5B283F-C924-44A4-95BF-1319A2C200FD}" destId="{4958F08B-C3B0-4D8C-BF04-8E93D2C3887D}" srcOrd="0" destOrd="0" presId="urn:microsoft.com/office/officeart/2005/8/layout/hierarchy5"/>
    <dgm:cxn modelId="{7FFF1CF1-B096-4E73-8CC8-25B65749430A}" type="presParOf" srcId="{4958F08B-C3B0-4D8C-BF04-8E93D2C3887D}" destId="{9CA81732-F4CE-49F5-ABCC-BC29C9215BD6}" srcOrd="0" destOrd="0" presId="urn:microsoft.com/office/officeart/2005/8/layout/hierarchy5"/>
    <dgm:cxn modelId="{3B77A0DB-0CEA-43DD-9EAD-D8A4B2022BAB}" type="presParOf" srcId="{4958F08B-C3B0-4D8C-BF04-8E93D2C3887D}" destId="{697FD07A-0839-44E6-87A8-DC6E84624732}" srcOrd="1" destOrd="0" presId="urn:microsoft.com/office/officeart/2005/8/layout/hierarchy5"/>
    <dgm:cxn modelId="{073A5917-C8C3-41BE-B28B-C402388EF80B}" type="presParOf" srcId="{9D5B283F-C924-44A4-95BF-1319A2C200FD}" destId="{0E0E39E4-7415-49AD-803D-22A8D8D60577}" srcOrd="1" destOrd="0" presId="urn:microsoft.com/office/officeart/2005/8/layout/hierarchy5"/>
    <dgm:cxn modelId="{057DB4E6-4BBF-476B-9729-7D57416DDC58}" type="presParOf" srcId="{0E0E39E4-7415-49AD-803D-22A8D8D60577}" destId="{214A256C-DF6C-401F-BA89-F82937365672}" srcOrd="0" destOrd="0" presId="urn:microsoft.com/office/officeart/2005/8/layout/hierarchy5"/>
    <dgm:cxn modelId="{ADEDB5D3-339A-4938-8DBE-97EA2CD76C92}" type="presParOf" srcId="{9D5B283F-C924-44A4-95BF-1319A2C200FD}" destId="{7DD2269D-A0C0-4C0F-A342-B05DB925C874}" srcOrd="2" destOrd="0" presId="urn:microsoft.com/office/officeart/2005/8/layout/hierarchy5"/>
    <dgm:cxn modelId="{BCB6420A-1680-4575-8C1B-E8A49466313F}" type="presParOf" srcId="{7DD2269D-A0C0-4C0F-A342-B05DB925C874}" destId="{31FCEB4A-D007-4636-8AFC-FBF64741107A}" srcOrd="0" destOrd="0" presId="urn:microsoft.com/office/officeart/2005/8/layout/hierarchy5"/>
    <dgm:cxn modelId="{F3C63E09-B846-46E8-A20B-E421FD0BF04D}" type="presParOf" srcId="{7DD2269D-A0C0-4C0F-A342-B05DB925C874}" destId="{0A658FD7-D2BD-4DE3-918C-7A26FC1964BC}" srcOrd="1" destOrd="0" presId="urn:microsoft.com/office/officeart/2005/8/layout/hierarchy5"/>
    <dgm:cxn modelId="{1189DC9C-833C-4F5F-BE8B-06954F0F8DA4}" type="presParOf" srcId="{9D5B283F-C924-44A4-95BF-1319A2C200FD}" destId="{A7C1493F-FC46-4367-BE8B-1C0A592C8DFB}" srcOrd="3" destOrd="0" presId="urn:microsoft.com/office/officeart/2005/8/layout/hierarchy5"/>
    <dgm:cxn modelId="{E39BBDB6-5AD6-44F6-AE61-2B55F750AD4C}" type="presParOf" srcId="{A7C1493F-FC46-4367-BE8B-1C0A592C8DFB}" destId="{6B51EB0B-C1AD-4B4A-8219-14A3060E84B8}" srcOrd="0" destOrd="0" presId="urn:microsoft.com/office/officeart/2005/8/layout/hierarchy5"/>
    <dgm:cxn modelId="{ECC30C90-F1A4-4D9F-A67C-3E6FD4E58742}" type="presParOf" srcId="{9D5B283F-C924-44A4-95BF-1319A2C200FD}" destId="{376F853D-9562-4AED-A33E-751679D6134D}" srcOrd="4" destOrd="0" presId="urn:microsoft.com/office/officeart/2005/8/layout/hierarchy5"/>
    <dgm:cxn modelId="{B5C32749-6D8D-459B-B423-53AAA5F3C7E5}" type="presParOf" srcId="{376F853D-9562-4AED-A33E-751679D6134D}" destId="{4197D089-C911-435A-92D4-FC075C87574E}" srcOrd="0" destOrd="0" presId="urn:microsoft.com/office/officeart/2005/8/layout/hierarchy5"/>
    <dgm:cxn modelId="{49F5C7BE-D886-4566-B295-3FAB1544A364}" type="presParOf" srcId="{376F853D-9562-4AED-A33E-751679D6134D}" destId="{F0B66C4C-9FC4-4092-921A-143AF7B67B79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B9D7BD10-5916-40EF-A16E-504931AE48A5}">
      <dgm:prSet phldrT="[Tekst]" custT="1"/>
      <dgm:spPr/>
      <dgm:t>
        <a:bodyPr/>
        <a:lstStyle/>
        <a:p>
          <a:r>
            <a:rPr lang="nb-NO" sz="1400"/>
            <a:t>Masterprogram</a:t>
          </a:r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400"/>
            <a:t>333333 Master </a:t>
          </a:r>
          <a:r>
            <a:rPr lang="nb-NO" sz="1400" err="1"/>
            <a:t>fysio</a:t>
          </a:r>
          <a:endParaRPr lang="nb-NO" sz="1400"/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/>
            <a:t>333333001 Masterstudent XX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400"/>
            <a:t>333333002 Masterstudent YY</a:t>
          </a:r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67751FE8-738B-46CF-BD08-F0FC5E048B81}">
      <dgm:prSet phldrT="[Tekst]" custT="1"/>
      <dgm:spPr/>
      <dgm:t>
        <a:bodyPr/>
        <a:lstStyle/>
        <a:p>
          <a:r>
            <a:rPr lang="nb-NO" sz="1400"/>
            <a:t>444444 Master </a:t>
          </a:r>
          <a:r>
            <a:rPr lang="nb-NO" sz="1400" err="1"/>
            <a:t>nevro</a:t>
          </a:r>
          <a:endParaRPr lang="nb-NO" sz="1400"/>
        </a:p>
      </dgm:t>
    </dgm:pt>
    <dgm:pt modelId="{F1B671B6-A9CE-4640-B0AB-A51B20E658CC}" type="parTrans" cxnId="{504F35A7-C47A-45D7-AEDC-D36C319FFD7C}">
      <dgm:prSet custT="1"/>
      <dgm:spPr/>
      <dgm:t>
        <a:bodyPr/>
        <a:lstStyle/>
        <a:p>
          <a:endParaRPr lang="nb-NO" sz="100"/>
        </a:p>
      </dgm:t>
    </dgm:pt>
    <dgm:pt modelId="{95F02C6D-A6F4-48B8-8D90-6F3D38B4F918}" type="sibTrans" cxnId="{504F35A7-C47A-45D7-AEDC-D36C319FFD7C}">
      <dgm:prSet/>
      <dgm:spPr/>
      <dgm:t>
        <a:bodyPr/>
        <a:lstStyle/>
        <a:p>
          <a:endParaRPr lang="nb-NO" sz="900"/>
        </a:p>
      </dgm:t>
    </dgm:pt>
    <dgm:pt modelId="{3C5DF60D-BF54-49FD-8862-A904172A7B29}">
      <dgm:prSet phldrT="[Tekst]" custT="1"/>
      <dgm:spPr/>
      <dgm:t>
        <a:bodyPr/>
        <a:lstStyle/>
        <a:p>
          <a:r>
            <a:rPr lang="nb-NO" sz="1400"/>
            <a:t>44444401</a:t>
          </a:r>
        </a:p>
        <a:p>
          <a:r>
            <a:rPr lang="nb-NO" sz="1400"/>
            <a:t>Generell drift</a:t>
          </a:r>
        </a:p>
      </dgm:t>
    </dgm:pt>
    <dgm:pt modelId="{087E36DB-484E-4E58-A349-9B15ABE8AF61}" type="parTrans" cxnId="{85D3A73D-E939-49D0-9306-CFC4BC239742}">
      <dgm:prSet custT="1"/>
      <dgm:spPr/>
      <dgm:t>
        <a:bodyPr/>
        <a:lstStyle/>
        <a:p>
          <a:endParaRPr lang="nb-NO" sz="100"/>
        </a:p>
      </dgm:t>
    </dgm:pt>
    <dgm:pt modelId="{2E945077-5107-449C-B3F1-9B923CAB9519}" type="sibTrans" cxnId="{85D3A73D-E939-49D0-9306-CFC4BC239742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7072F71-4897-402F-B494-F4623B344353}">
      <dgm:prSet phldrT="[Tekst]" custT="1"/>
      <dgm:spPr/>
      <dgm:t>
        <a:bodyPr/>
        <a:lstStyle/>
        <a:p>
          <a:r>
            <a:rPr lang="nb-NO" sz="1400"/>
            <a:t>Investering simulering</a:t>
          </a:r>
        </a:p>
      </dgm:t>
    </dgm:pt>
    <dgm:pt modelId="{4C8A946D-DA81-4BFC-B1EC-4346E90DFA03}" type="parTrans" cxnId="{3EB82E42-C85D-40F7-8F94-8400B17CDE82}">
      <dgm:prSet/>
      <dgm:spPr/>
      <dgm:t>
        <a:bodyPr/>
        <a:lstStyle/>
        <a:p>
          <a:endParaRPr lang="nb-NO"/>
        </a:p>
      </dgm:t>
    </dgm:pt>
    <dgm:pt modelId="{1AE7DE31-F272-4046-965B-38581BBF5930}" type="sibTrans" cxnId="{3EB82E42-C85D-40F7-8F94-8400B17CDE82}">
      <dgm:prSet/>
      <dgm:spPr/>
      <dgm:t>
        <a:bodyPr/>
        <a:lstStyle/>
        <a:p>
          <a:endParaRPr lang="nb-NO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2"/>
      <dgm:spPr/>
    </dgm:pt>
    <dgm:pt modelId="{54D75276-1A39-47DE-9F78-430842048905}" type="pres">
      <dgm:prSet presAssocID="{3F776734-8251-4DC1-A41E-1310B9C4E0DF}" presName="connTx" presStyleLbl="parChTrans1D2" presStyleIdx="0" presStyleCnt="2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2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4"/>
      <dgm:spPr/>
    </dgm:pt>
    <dgm:pt modelId="{A7C50161-927A-47EC-B63B-B8C344690E94}" type="pres">
      <dgm:prSet presAssocID="{794FED05-47DB-45CE-AC08-9990E07312DF}" presName="connTx" presStyleLbl="parChTrans1D3" presStyleIdx="0" presStyleCnt="4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4"/>
      <dgm:spPr/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4"/>
      <dgm:spPr/>
    </dgm:pt>
    <dgm:pt modelId="{EA29F95E-15AF-48A6-83F0-794D4C5E302C}" type="pres">
      <dgm:prSet presAssocID="{9DF3BA3D-F408-4101-A4FC-B6CACB2981EF}" presName="connTx" presStyleLbl="parChTrans1D3" presStyleIdx="1" presStyleCnt="4"/>
      <dgm:spPr/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4"/>
      <dgm:spPr/>
    </dgm:pt>
    <dgm:pt modelId="{616C9D17-1CD7-4E03-AA51-6209DF770C50}" type="pres">
      <dgm:prSet presAssocID="{A80DB4F5-681A-46D8-B028-B8248EAD5BA3}" presName="hierChild3" presStyleCnt="0"/>
      <dgm:spPr/>
    </dgm:pt>
    <dgm:pt modelId="{D5BE51A4-22A1-45A6-BAEB-5092DC5DEE49}" type="pres">
      <dgm:prSet presAssocID="{F1B671B6-A9CE-4640-B0AB-A51B20E658CC}" presName="Name25" presStyleLbl="parChTrans1D2" presStyleIdx="1" presStyleCnt="2"/>
      <dgm:spPr/>
    </dgm:pt>
    <dgm:pt modelId="{71A627F0-4915-45C8-816D-6E030C90D6D7}" type="pres">
      <dgm:prSet presAssocID="{F1B671B6-A9CE-4640-B0AB-A51B20E658CC}" presName="connTx" presStyleLbl="parChTrans1D2" presStyleIdx="1" presStyleCnt="2"/>
      <dgm:spPr/>
    </dgm:pt>
    <dgm:pt modelId="{6F6908CF-3300-41DF-A9B3-92BA421A3483}" type="pres">
      <dgm:prSet presAssocID="{67751FE8-738B-46CF-BD08-F0FC5E048B81}" presName="Name30" presStyleCnt="0"/>
      <dgm:spPr/>
    </dgm:pt>
    <dgm:pt modelId="{ABCA2AB5-31E5-4A60-855A-972D94E84372}" type="pres">
      <dgm:prSet presAssocID="{67751FE8-738B-46CF-BD08-F0FC5E048B81}" presName="level2Shape" presStyleLbl="node2" presStyleIdx="1" presStyleCnt="2"/>
      <dgm:spPr/>
    </dgm:pt>
    <dgm:pt modelId="{17BD10DE-6F91-451F-A056-83D010BB3ACA}" type="pres">
      <dgm:prSet presAssocID="{67751FE8-738B-46CF-BD08-F0FC5E048B81}" presName="hierChild3" presStyleCnt="0"/>
      <dgm:spPr/>
    </dgm:pt>
    <dgm:pt modelId="{77150375-35D9-4E8A-A191-228EB82C5D21}" type="pres">
      <dgm:prSet presAssocID="{087E36DB-484E-4E58-A349-9B15ABE8AF61}" presName="Name25" presStyleLbl="parChTrans1D3" presStyleIdx="2" presStyleCnt="4"/>
      <dgm:spPr/>
    </dgm:pt>
    <dgm:pt modelId="{4868D1C0-BE0C-423C-A44B-BA720359DC9D}" type="pres">
      <dgm:prSet presAssocID="{087E36DB-484E-4E58-A349-9B15ABE8AF61}" presName="connTx" presStyleLbl="parChTrans1D3" presStyleIdx="2" presStyleCnt="4"/>
      <dgm:spPr/>
    </dgm:pt>
    <dgm:pt modelId="{AA259918-6D0C-4758-B958-3008B9EA7A76}" type="pres">
      <dgm:prSet presAssocID="{3C5DF60D-BF54-49FD-8862-A904172A7B29}" presName="Name30" presStyleCnt="0"/>
      <dgm:spPr/>
    </dgm:pt>
    <dgm:pt modelId="{19082A1C-C158-4088-BFF4-A000F078F443}" type="pres">
      <dgm:prSet presAssocID="{3C5DF60D-BF54-49FD-8862-A904172A7B29}" presName="level2Shape" presStyleLbl="node3" presStyleIdx="2" presStyleCnt="4"/>
      <dgm:spPr/>
    </dgm:pt>
    <dgm:pt modelId="{D3A3DA0B-936D-4BE7-8E0C-142589D1232A}" type="pres">
      <dgm:prSet presAssocID="{3C5DF60D-BF54-49FD-8862-A904172A7B29}" presName="hierChild3" presStyleCnt="0"/>
      <dgm:spPr/>
    </dgm:pt>
    <dgm:pt modelId="{3728E5FB-7008-4FE2-9F6A-F1B7B9038021}" type="pres">
      <dgm:prSet presAssocID="{4C8A946D-DA81-4BFC-B1EC-4346E90DFA03}" presName="Name25" presStyleLbl="parChTrans1D3" presStyleIdx="3" presStyleCnt="4"/>
      <dgm:spPr/>
    </dgm:pt>
    <dgm:pt modelId="{8358C5B2-3BA0-47FA-A26C-05E05707F9A9}" type="pres">
      <dgm:prSet presAssocID="{4C8A946D-DA81-4BFC-B1EC-4346E90DFA03}" presName="connTx" presStyleLbl="parChTrans1D3" presStyleIdx="3" presStyleCnt="4"/>
      <dgm:spPr/>
    </dgm:pt>
    <dgm:pt modelId="{B6256A62-1BC2-4024-A9E1-5C9031BD378A}" type="pres">
      <dgm:prSet presAssocID="{B7072F71-4897-402F-B494-F4623B344353}" presName="Name30" presStyleCnt="0"/>
      <dgm:spPr/>
    </dgm:pt>
    <dgm:pt modelId="{5DCD88EE-F40B-4799-82E8-C29E501B3021}" type="pres">
      <dgm:prSet presAssocID="{B7072F71-4897-402F-B494-F4623B344353}" presName="level2Shape" presStyleLbl="node3" presStyleIdx="3" presStyleCnt="4"/>
      <dgm:spPr/>
    </dgm:pt>
    <dgm:pt modelId="{B6685376-692F-41C6-9029-23D768156401}" type="pres">
      <dgm:prSet presAssocID="{B7072F71-4897-402F-B494-F4623B34435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2D62E-5F43-4319-BC5B-E2162EEA5E96}" type="presOf" srcId="{F1B671B6-A9CE-4640-B0AB-A51B20E658CC}" destId="{D5BE51A4-22A1-45A6-BAEB-5092DC5DEE49}" srcOrd="0" destOrd="0" presId="urn:microsoft.com/office/officeart/2005/8/layout/hierarchy5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EB2C6A39-79B7-46EE-82B6-EDBDC06C9DAF}" type="presOf" srcId="{B7072F71-4897-402F-B494-F4623B344353}" destId="{5DCD88EE-F40B-4799-82E8-C29E501B3021}" srcOrd="0" destOrd="0" presId="urn:microsoft.com/office/officeart/2005/8/layout/hierarchy5"/>
    <dgm:cxn modelId="{85D3A73D-E939-49D0-9306-CFC4BC239742}" srcId="{67751FE8-738B-46CF-BD08-F0FC5E048B81}" destId="{3C5DF60D-BF54-49FD-8862-A904172A7B29}" srcOrd="0" destOrd="0" parTransId="{087E36DB-484E-4E58-A349-9B15ABE8AF61}" sibTransId="{2E945077-5107-449C-B3F1-9B923CAB9519}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8702B65F-525D-49A1-B6C4-AA301F43C59C}" type="presOf" srcId="{4C8A946D-DA81-4BFC-B1EC-4346E90DFA03}" destId="{8358C5B2-3BA0-47FA-A26C-05E05707F9A9}" srcOrd="1" destOrd="0" presId="urn:microsoft.com/office/officeart/2005/8/layout/hierarchy5"/>
    <dgm:cxn modelId="{0064F75F-9516-49DF-AF50-E765DA604ED6}" type="presOf" srcId="{3C5DF60D-BF54-49FD-8862-A904172A7B29}" destId="{19082A1C-C158-4088-BFF4-A000F078F443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3EB82E42-C85D-40F7-8F94-8400B17CDE82}" srcId="{67751FE8-738B-46CF-BD08-F0FC5E048B81}" destId="{B7072F71-4897-402F-B494-F4623B344353}" srcOrd="1" destOrd="0" parTransId="{4C8A946D-DA81-4BFC-B1EC-4346E90DFA03}" sibTransId="{1AE7DE31-F272-4046-965B-38581BBF5930}"/>
    <dgm:cxn modelId="{8DA5684A-3958-47C9-B52B-C41CBF930737}" type="presOf" srcId="{087E36DB-484E-4E58-A349-9B15ABE8AF61}" destId="{4868D1C0-BE0C-423C-A44B-BA720359DC9D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5FB5664C-650D-4C29-8F3B-493CF77C0B3D}" type="presOf" srcId="{F1B671B6-A9CE-4640-B0AB-A51B20E658CC}" destId="{71A627F0-4915-45C8-816D-6E030C90D6D7}" srcOrd="1" destOrd="0" presId="urn:microsoft.com/office/officeart/2005/8/layout/hierarchy5"/>
    <dgm:cxn modelId="{13774B4E-0637-4836-9DB7-FE790988A89D}" type="presOf" srcId="{4C8A946D-DA81-4BFC-B1EC-4346E90DFA03}" destId="{3728E5FB-7008-4FE2-9F6A-F1B7B9038021}" srcOrd="0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43445798-72DA-46A4-821E-A4116692B243}" type="presOf" srcId="{67751FE8-738B-46CF-BD08-F0FC5E048B81}" destId="{ABCA2AB5-31E5-4A60-855A-972D94E84372}" srcOrd="0" destOrd="0" presId="urn:microsoft.com/office/officeart/2005/8/layout/hierarchy5"/>
    <dgm:cxn modelId="{504F35A7-C47A-45D7-AEDC-D36C319FFD7C}" srcId="{B9D7BD10-5916-40EF-A16E-504931AE48A5}" destId="{67751FE8-738B-46CF-BD08-F0FC5E048B81}" srcOrd="1" destOrd="0" parTransId="{F1B671B6-A9CE-4640-B0AB-A51B20E658CC}" sibTransId="{95F02C6D-A6F4-48B8-8D90-6F3D38B4F918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130884CF-7782-4B23-9949-B06E136D81C8}" type="presOf" srcId="{087E36DB-484E-4E58-A349-9B15ABE8AF61}" destId="{77150375-35D9-4E8A-A191-228EB82C5D21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AB12210C-9543-44CD-87F5-A2B08401037E}" type="presParOf" srcId="{61F55623-61BA-4BB8-9B7C-DF487421A484}" destId="{D5BE51A4-22A1-45A6-BAEB-5092DC5DEE49}" srcOrd="2" destOrd="0" presId="urn:microsoft.com/office/officeart/2005/8/layout/hierarchy5"/>
    <dgm:cxn modelId="{73778280-B2EA-4E75-B878-B374CC17BB58}" type="presParOf" srcId="{D5BE51A4-22A1-45A6-BAEB-5092DC5DEE49}" destId="{71A627F0-4915-45C8-816D-6E030C90D6D7}" srcOrd="0" destOrd="0" presId="urn:microsoft.com/office/officeart/2005/8/layout/hierarchy5"/>
    <dgm:cxn modelId="{4572304C-FF66-4392-803D-535CB7A9BBB2}" type="presParOf" srcId="{61F55623-61BA-4BB8-9B7C-DF487421A484}" destId="{6F6908CF-3300-41DF-A9B3-92BA421A3483}" srcOrd="3" destOrd="0" presId="urn:microsoft.com/office/officeart/2005/8/layout/hierarchy5"/>
    <dgm:cxn modelId="{2F280445-F4EE-4907-9B1F-18246DC2519A}" type="presParOf" srcId="{6F6908CF-3300-41DF-A9B3-92BA421A3483}" destId="{ABCA2AB5-31E5-4A60-855A-972D94E84372}" srcOrd="0" destOrd="0" presId="urn:microsoft.com/office/officeart/2005/8/layout/hierarchy5"/>
    <dgm:cxn modelId="{CFEDBC09-3D28-4690-96D6-8FC5866FC1C3}" type="presParOf" srcId="{6F6908CF-3300-41DF-A9B3-92BA421A3483}" destId="{17BD10DE-6F91-451F-A056-83D010BB3ACA}" srcOrd="1" destOrd="0" presId="urn:microsoft.com/office/officeart/2005/8/layout/hierarchy5"/>
    <dgm:cxn modelId="{1C3848AE-F259-4DD0-9228-D482DB29F4E2}" type="presParOf" srcId="{17BD10DE-6F91-451F-A056-83D010BB3ACA}" destId="{77150375-35D9-4E8A-A191-228EB82C5D21}" srcOrd="0" destOrd="0" presId="urn:microsoft.com/office/officeart/2005/8/layout/hierarchy5"/>
    <dgm:cxn modelId="{F6DB3924-6130-40BB-996A-D5E61E7B0430}" type="presParOf" srcId="{77150375-35D9-4E8A-A191-228EB82C5D21}" destId="{4868D1C0-BE0C-423C-A44B-BA720359DC9D}" srcOrd="0" destOrd="0" presId="urn:microsoft.com/office/officeart/2005/8/layout/hierarchy5"/>
    <dgm:cxn modelId="{37765B51-85AA-4F4E-8D06-77029D878BFD}" type="presParOf" srcId="{17BD10DE-6F91-451F-A056-83D010BB3ACA}" destId="{AA259918-6D0C-4758-B958-3008B9EA7A76}" srcOrd="1" destOrd="0" presId="urn:microsoft.com/office/officeart/2005/8/layout/hierarchy5"/>
    <dgm:cxn modelId="{624532BC-A4FD-4620-AD52-81575FEE7AF6}" type="presParOf" srcId="{AA259918-6D0C-4758-B958-3008B9EA7A76}" destId="{19082A1C-C158-4088-BFF4-A000F078F443}" srcOrd="0" destOrd="0" presId="urn:microsoft.com/office/officeart/2005/8/layout/hierarchy5"/>
    <dgm:cxn modelId="{AEA40EFF-F5BF-45F6-9664-ACB7C4BB724A}" type="presParOf" srcId="{AA259918-6D0C-4758-B958-3008B9EA7A76}" destId="{D3A3DA0B-936D-4BE7-8E0C-142589D1232A}" srcOrd="1" destOrd="0" presId="urn:microsoft.com/office/officeart/2005/8/layout/hierarchy5"/>
    <dgm:cxn modelId="{4BA8053E-441B-4A74-8A31-3CF790D7E2C2}" type="presParOf" srcId="{17BD10DE-6F91-451F-A056-83D010BB3ACA}" destId="{3728E5FB-7008-4FE2-9F6A-F1B7B9038021}" srcOrd="2" destOrd="0" presId="urn:microsoft.com/office/officeart/2005/8/layout/hierarchy5"/>
    <dgm:cxn modelId="{428239B5-67FA-4E4A-ACF0-984F1FCD186C}" type="presParOf" srcId="{3728E5FB-7008-4FE2-9F6A-F1B7B9038021}" destId="{8358C5B2-3BA0-47FA-A26C-05E05707F9A9}" srcOrd="0" destOrd="0" presId="urn:microsoft.com/office/officeart/2005/8/layout/hierarchy5"/>
    <dgm:cxn modelId="{06C96F16-D4EC-4137-8B17-4A2482920987}" type="presParOf" srcId="{17BD10DE-6F91-451F-A056-83D010BB3ACA}" destId="{B6256A62-1BC2-4024-A9E1-5C9031BD378A}" srcOrd="3" destOrd="0" presId="urn:microsoft.com/office/officeart/2005/8/layout/hierarchy5"/>
    <dgm:cxn modelId="{D3047156-8F6B-421C-A5D3-1318D5783CBF}" type="presParOf" srcId="{B6256A62-1BC2-4024-A9E1-5C9031BD378A}" destId="{5DCD88EE-F40B-4799-82E8-C29E501B3021}" srcOrd="0" destOrd="0" presId="urn:microsoft.com/office/officeart/2005/8/layout/hierarchy5"/>
    <dgm:cxn modelId="{B692599A-4FCA-46C8-B79D-DBDD6EB706EE}" type="presParOf" srcId="{B6256A62-1BC2-4024-A9E1-5C9031BD378A}" destId="{B6685376-692F-41C6-9029-23D768156401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/>
      <dgm:spPr/>
      <dgm:t>
        <a:bodyPr/>
        <a:lstStyle/>
        <a:p>
          <a:r>
            <a:rPr lang="nb-NO" sz="1400" dirty="0"/>
            <a:t>222222 Studieprogram</a:t>
          </a:r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 dirty="0"/>
            <a:t>222222001 Læringsareal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A80DB4F5-681A-46D8-B028-B8248EAD5BA3}">
      <dgm:prSet phldrT="[Tekst]" custT="1"/>
      <dgm:spPr/>
      <dgm:t>
        <a:bodyPr/>
        <a:lstStyle/>
        <a:p>
          <a:r>
            <a:rPr lang="nb-NO" sz="1400" dirty="0"/>
            <a:t>222222002 Generell </a:t>
          </a:r>
          <a:r>
            <a:rPr lang="nb-NO" sz="1400" dirty="0" err="1"/>
            <a:t>utd.drift</a:t>
          </a:r>
          <a:endParaRPr lang="nb-NO" sz="1400" dirty="0"/>
        </a:p>
      </dgm:t>
    </dgm:pt>
    <dgm:pt modelId="{9DF3BA3D-F408-4101-A4FC-B6CACB2981EF}" type="parTrans" cxnId="{C5E9E411-8768-418E-A618-61F0CB99CEFE}">
      <dgm:prSet custT="1"/>
      <dgm:spPr/>
      <dgm:t>
        <a:bodyPr/>
        <a:lstStyle/>
        <a:p>
          <a:endParaRPr lang="nb-NO" sz="100"/>
        </a:p>
      </dgm:t>
    </dgm:pt>
    <dgm:pt modelId="{073EAD9E-E964-4D23-BF1F-D30E886066B0}" type="sibTrans" cxnId="{C5E9E411-8768-418E-A618-61F0CB99CEFE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</dgm:pt>
    <dgm:pt modelId="{54D75276-1A39-47DE-9F78-430842048905}" type="pres">
      <dgm:prSet presAssocID="{3F776734-8251-4DC1-A41E-1310B9C4E0DF}" presName="connTx" presStyleLbl="parChTrans1D2" presStyleIdx="0" presStyleCnt="1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2"/>
      <dgm:spPr/>
    </dgm:pt>
    <dgm:pt modelId="{A7C50161-927A-47EC-B63B-B8C344690E94}" type="pres">
      <dgm:prSet presAssocID="{794FED05-47DB-45CE-AC08-9990E07312DF}" presName="connTx" presStyleLbl="parChTrans1D3" presStyleIdx="0" presStyleCnt="2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2"/>
      <dgm:spPr/>
    </dgm:pt>
    <dgm:pt modelId="{B7FB36E5-4DEE-44D4-A2A0-6C1912C53BC2}" type="pres">
      <dgm:prSet presAssocID="{E8AC750F-2FF6-40E4-8453-D6E0FD024FA1}" presName="hierChild3" presStyleCnt="0"/>
      <dgm:spPr/>
    </dgm:pt>
    <dgm:pt modelId="{8CF9F0B5-AAFC-48F5-807D-1EFFF15F2E69}" type="pres">
      <dgm:prSet presAssocID="{9DF3BA3D-F408-4101-A4FC-B6CACB2981EF}" presName="Name25" presStyleLbl="parChTrans1D3" presStyleIdx="1" presStyleCnt="2"/>
      <dgm:spPr/>
    </dgm:pt>
    <dgm:pt modelId="{EA29F95E-15AF-48A6-83F0-794D4C5E302C}" type="pres">
      <dgm:prSet presAssocID="{9DF3BA3D-F408-4101-A4FC-B6CACB2981EF}" presName="connTx" presStyleLbl="parChTrans1D3" presStyleIdx="1" presStyleCnt="2"/>
      <dgm:spPr/>
    </dgm:pt>
    <dgm:pt modelId="{F5ED635F-A591-4CEC-A697-3DBB2178DACA}" type="pres">
      <dgm:prSet presAssocID="{A80DB4F5-681A-46D8-B028-B8248EAD5BA3}" presName="Name30" presStyleCnt="0"/>
      <dgm:spPr/>
    </dgm:pt>
    <dgm:pt modelId="{F11B34D1-E246-4446-AAC6-E4A36B85FF12}" type="pres">
      <dgm:prSet presAssocID="{A80DB4F5-681A-46D8-B028-B8248EAD5BA3}" presName="level2Shape" presStyleLbl="node3" presStyleIdx="1" presStyleCnt="2"/>
      <dgm:spPr/>
    </dgm:pt>
    <dgm:pt modelId="{616C9D17-1CD7-4E03-AA51-6209DF770C50}" type="pres">
      <dgm:prSet presAssocID="{A80DB4F5-681A-46D8-B028-B8248EAD5BA3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C5E9E411-8768-418E-A618-61F0CB99CEFE}" srcId="{54AB7E41-5C57-4A45-B6B9-62FC89821595}" destId="{A80DB4F5-681A-46D8-B028-B8248EAD5BA3}" srcOrd="1" destOrd="0" parTransId="{9DF3BA3D-F408-4101-A4FC-B6CACB2981EF}" sibTransId="{073EAD9E-E964-4D23-BF1F-D30E886066B0}"/>
    <dgm:cxn modelId="{BFA4C513-61E7-4D47-AA8F-538146810DDC}" type="presOf" srcId="{A80DB4F5-681A-46D8-B028-B8248EAD5BA3}" destId="{F11B34D1-E246-4446-AAC6-E4A36B85FF12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3F082EAF-2108-4903-9521-91A0A7DA3651}" type="presOf" srcId="{9DF3BA3D-F408-4101-A4FC-B6CACB2981EF}" destId="{EA29F95E-15AF-48A6-83F0-794D4C5E302C}" srcOrd="1" destOrd="0" presId="urn:microsoft.com/office/officeart/2005/8/layout/hierarchy5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4E6A4BDD-337C-491B-9CDF-2F1BA215B3E7}" type="presOf" srcId="{9DF3BA3D-F408-4101-A4FC-B6CACB2981EF}" destId="{8CF9F0B5-AAFC-48F5-807D-1EFFF15F2E69}" srcOrd="0" destOrd="0" presId="urn:microsoft.com/office/officeart/2005/8/layout/hierarchy5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25C7AFF9-DE63-446F-93DD-651744D557F7}" type="presParOf" srcId="{2D20AB04-3706-4054-8CB7-1EFC10C3F140}" destId="{8CF9F0B5-AAFC-48F5-807D-1EFFF15F2E69}" srcOrd="2" destOrd="0" presId="urn:microsoft.com/office/officeart/2005/8/layout/hierarchy5"/>
    <dgm:cxn modelId="{CA7DB29E-2C65-49D8-98FA-00C6B7CEFAC1}" type="presParOf" srcId="{8CF9F0B5-AAFC-48F5-807D-1EFFF15F2E69}" destId="{EA29F95E-15AF-48A6-83F0-794D4C5E302C}" srcOrd="0" destOrd="0" presId="urn:microsoft.com/office/officeart/2005/8/layout/hierarchy5"/>
    <dgm:cxn modelId="{A9A7536C-F447-42F4-B9A0-C778997A01C1}" type="presParOf" srcId="{2D20AB04-3706-4054-8CB7-1EFC10C3F140}" destId="{F5ED635F-A591-4CEC-A697-3DBB2178DACA}" srcOrd="3" destOrd="0" presId="urn:microsoft.com/office/officeart/2005/8/layout/hierarchy5"/>
    <dgm:cxn modelId="{270CDE93-ABEA-46F8-BC16-29ACCBE6E547}" type="presParOf" srcId="{F5ED635F-A591-4CEC-A697-3DBB2178DACA}" destId="{F11B34D1-E246-4446-AAC6-E4A36B85FF12}" srcOrd="0" destOrd="0" presId="urn:microsoft.com/office/officeart/2005/8/layout/hierarchy5"/>
    <dgm:cxn modelId="{90C8F3ED-CD6B-42A0-812F-AE97960CE33D}" type="presParOf" srcId="{F5ED635F-A591-4CEC-A697-3DBB2178DACA}" destId="{616C9D17-1CD7-4E03-AA51-6209DF770C50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B7ABC29-6AD0-4CAF-8F84-4204C85B89FB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54AB7E41-5C57-4A45-B6B9-62FC8982159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/</a:t>
          </a:r>
        </a:p>
        <a:p>
          <a:r>
            <a:rPr lang="nb-NO" sz="1400"/>
            <a:t>111111 Ommøblering EPT</a:t>
          </a:r>
        </a:p>
      </dgm:t>
    </dgm:pt>
    <dgm:pt modelId="{3F776734-8251-4DC1-A41E-1310B9C4E0DF}" type="parTrans" cxnId="{BE8AF0A9-B974-45A4-984B-F5923FE213FE}">
      <dgm:prSet custT="1"/>
      <dgm:spPr/>
      <dgm:t>
        <a:bodyPr/>
        <a:lstStyle/>
        <a:p>
          <a:endParaRPr lang="nb-NO" sz="100"/>
        </a:p>
      </dgm:t>
    </dgm:pt>
    <dgm:pt modelId="{AF2654AB-F035-4DB6-8801-383D1D61C422}" type="sibTrans" cxnId="{BE8AF0A9-B974-45A4-984B-F5923FE213FE}">
      <dgm:prSet/>
      <dgm:spPr/>
      <dgm:t>
        <a:bodyPr/>
        <a:lstStyle/>
        <a:p>
          <a:endParaRPr lang="nb-NO" sz="900"/>
        </a:p>
      </dgm:t>
    </dgm:pt>
    <dgm:pt modelId="{E8AC750F-2FF6-40E4-8453-D6E0FD024FA1}">
      <dgm:prSet phldrT="[Tekst]" custT="1"/>
      <dgm:spPr/>
      <dgm:t>
        <a:bodyPr/>
        <a:lstStyle/>
        <a:p>
          <a:r>
            <a:rPr lang="nb-NO" sz="1400"/>
            <a:t>111111001 Ommøblering EPT</a:t>
          </a:r>
        </a:p>
      </dgm:t>
    </dgm:pt>
    <dgm:pt modelId="{794FED05-47DB-45CE-AC08-9990E07312DF}" type="parTrans" cxnId="{1B1D9D2D-B7FC-475A-87CC-AFFD2927E69A}">
      <dgm:prSet custT="1"/>
      <dgm:spPr/>
      <dgm:t>
        <a:bodyPr/>
        <a:lstStyle/>
        <a:p>
          <a:endParaRPr lang="nb-NO" sz="100"/>
        </a:p>
      </dgm:t>
    </dgm:pt>
    <dgm:pt modelId="{167E70D7-A0FE-43F6-8001-0C27BA55CC93}" type="sibTrans" cxnId="{1B1D9D2D-B7FC-475A-87CC-AFFD2927E69A}">
      <dgm:prSet/>
      <dgm:spPr/>
      <dgm:t>
        <a:bodyPr/>
        <a:lstStyle/>
        <a:p>
          <a:endParaRPr lang="nb-NO" sz="900"/>
        </a:p>
      </dgm:t>
    </dgm:pt>
    <dgm:pt modelId="{EBF19A70-8E57-4FB6-84D5-79BC14CFD5E6}">
      <dgm:prSet phldrT="[Tekst]" custT="1"/>
      <dgm:spPr/>
      <dgm:t>
        <a:bodyPr/>
        <a:lstStyle/>
        <a:p>
          <a:r>
            <a:rPr lang="nb-NO" sz="1600"/>
            <a:t>Hovedprosjekt</a:t>
          </a:r>
        </a:p>
      </dgm:t>
    </dgm:pt>
    <dgm:pt modelId="{CEEFA0E0-3C72-48D1-9AE1-1FC403A90396}" type="parTrans" cxnId="{08BA9B0B-8AAA-41CF-9A9D-8805DAF0033D}">
      <dgm:prSet/>
      <dgm:spPr/>
      <dgm:t>
        <a:bodyPr/>
        <a:lstStyle/>
        <a:p>
          <a:endParaRPr lang="nb-NO" sz="900"/>
        </a:p>
      </dgm:t>
    </dgm:pt>
    <dgm:pt modelId="{632AEDB1-0101-48A7-A628-6227CCAAC626}" type="sibTrans" cxnId="{08BA9B0B-8AAA-41CF-9A9D-8805DAF0033D}">
      <dgm:prSet/>
      <dgm:spPr/>
      <dgm:t>
        <a:bodyPr/>
        <a:lstStyle/>
        <a:p>
          <a:endParaRPr lang="nb-NO" sz="900"/>
        </a:p>
      </dgm:t>
    </dgm:pt>
    <dgm:pt modelId="{0DFF0EA9-1817-4FC2-96D9-3FA511BB639C}">
      <dgm:prSet phldrT="[Tekst]" custT="1"/>
      <dgm:spPr/>
      <dgm:t>
        <a:bodyPr/>
        <a:lstStyle/>
        <a:p>
          <a:r>
            <a:rPr lang="nb-NO" sz="1600"/>
            <a:t>Prosjekt</a:t>
          </a:r>
        </a:p>
      </dgm:t>
    </dgm:pt>
    <dgm:pt modelId="{C431AAEE-7ECB-40C7-8398-A26794AA6A7C}" type="parTrans" cxnId="{688123B8-625F-43F0-B01D-6B2532746062}">
      <dgm:prSet/>
      <dgm:spPr/>
      <dgm:t>
        <a:bodyPr/>
        <a:lstStyle/>
        <a:p>
          <a:endParaRPr lang="nb-NO" sz="900"/>
        </a:p>
      </dgm:t>
    </dgm:pt>
    <dgm:pt modelId="{BD1AF509-E15C-4F67-B812-3711946D9CC4}" type="sibTrans" cxnId="{688123B8-625F-43F0-B01D-6B2532746062}">
      <dgm:prSet/>
      <dgm:spPr/>
      <dgm:t>
        <a:bodyPr/>
        <a:lstStyle/>
        <a:p>
          <a:endParaRPr lang="nb-NO" sz="900"/>
        </a:p>
      </dgm:t>
    </dgm:pt>
    <dgm:pt modelId="{B4C86C22-D03C-49B2-9364-2C394F3A3760}">
      <dgm:prSet phldrT="[Tekst]" custT="1"/>
      <dgm:spPr/>
      <dgm:t>
        <a:bodyPr/>
        <a:lstStyle/>
        <a:p>
          <a:r>
            <a:rPr lang="nb-NO" sz="1600"/>
            <a:t>Delprosjekt</a:t>
          </a:r>
        </a:p>
      </dgm:t>
    </dgm:pt>
    <dgm:pt modelId="{EDB6C72C-AEE8-4421-A383-0B0D7ED8EA44}" type="parTrans" cxnId="{CA00D1D6-B56A-4D18-856D-77F277041EF6}">
      <dgm:prSet/>
      <dgm:spPr/>
      <dgm:t>
        <a:bodyPr/>
        <a:lstStyle/>
        <a:p>
          <a:endParaRPr lang="nb-NO" sz="900"/>
        </a:p>
      </dgm:t>
    </dgm:pt>
    <dgm:pt modelId="{57151FA6-FE2D-4918-92D5-CD1E54482B1C}" type="sibTrans" cxnId="{CA00D1D6-B56A-4D18-856D-77F277041EF6}">
      <dgm:prSet/>
      <dgm:spPr/>
      <dgm:t>
        <a:bodyPr/>
        <a:lstStyle/>
        <a:p>
          <a:endParaRPr lang="nb-NO" sz="900"/>
        </a:p>
      </dgm:t>
    </dgm:pt>
    <dgm:pt modelId="{B9D7BD10-5916-40EF-A16E-504931AE48A5}">
      <dgm:prSet phldrT="[Tekst]" custT="1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nb-NO" sz="1400"/>
            <a:t>Ikke aktuell</a:t>
          </a:r>
        </a:p>
      </dgm:t>
    </dgm:pt>
    <dgm:pt modelId="{61E0EFF3-8788-4B3E-8E3B-0C1E8CDFCBFF}" type="sibTrans" cxnId="{A0A2B48D-B122-4560-A4C7-118231BAA932}">
      <dgm:prSet/>
      <dgm:spPr/>
      <dgm:t>
        <a:bodyPr/>
        <a:lstStyle/>
        <a:p>
          <a:endParaRPr lang="nb-NO" sz="900"/>
        </a:p>
      </dgm:t>
    </dgm:pt>
    <dgm:pt modelId="{35463535-5C15-44B7-96BB-CEABAE237869}" type="parTrans" cxnId="{A0A2B48D-B122-4560-A4C7-118231BAA932}">
      <dgm:prSet/>
      <dgm:spPr/>
      <dgm:t>
        <a:bodyPr/>
        <a:lstStyle/>
        <a:p>
          <a:endParaRPr lang="nb-NO" sz="900"/>
        </a:p>
      </dgm:t>
    </dgm:pt>
    <dgm:pt modelId="{F9EA1C16-43D4-4B56-8716-7BB87E8EDED8}" type="pres">
      <dgm:prSet presAssocID="{1B7ABC29-6AD0-4CAF-8F84-4204C85B89FB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8F3A0A7-DCB0-41B2-BBE2-C4061E1961D4}" type="pres">
      <dgm:prSet presAssocID="{1B7ABC29-6AD0-4CAF-8F84-4204C85B89FB}" presName="hierFlow" presStyleCnt="0"/>
      <dgm:spPr/>
    </dgm:pt>
    <dgm:pt modelId="{C957ED17-9636-4658-AB89-F7B58B4C259F}" type="pres">
      <dgm:prSet presAssocID="{1B7ABC29-6AD0-4CAF-8F84-4204C85B89FB}" presName="firstBuf" presStyleCnt="0"/>
      <dgm:spPr/>
    </dgm:pt>
    <dgm:pt modelId="{CF79AF05-021F-41A3-B3D0-73B36AC81891}" type="pres">
      <dgm:prSet presAssocID="{1B7ABC29-6AD0-4CAF-8F84-4204C85B89FB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A9BC88B6-5753-40E2-9AFC-5868A5B766AE}" type="pres">
      <dgm:prSet presAssocID="{B9D7BD10-5916-40EF-A16E-504931AE48A5}" presName="Name17" presStyleCnt="0"/>
      <dgm:spPr/>
    </dgm:pt>
    <dgm:pt modelId="{5012B746-0349-4B19-9E33-5C3D2C33AB46}" type="pres">
      <dgm:prSet presAssocID="{B9D7BD10-5916-40EF-A16E-504931AE48A5}" presName="level1Shape" presStyleLbl="node0" presStyleIdx="0" presStyleCnt="1">
        <dgm:presLayoutVars>
          <dgm:chPref val="3"/>
        </dgm:presLayoutVars>
      </dgm:prSet>
      <dgm:spPr/>
    </dgm:pt>
    <dgm:pt modelId="{61F55623-61BA-4BB8-9B7C-DF487421A484}" type="pres">
      <dgm:prSet presAssocID="{B9D7BD10-5916-40EF-A16E-504931AE48A5}" presName="hierChild2" presStyleCnt="0"/>
      <dgm:spPr/>
    </dgm:pt>
    <dgm:pt modelId="{180A2268-9D56-4367-AE95-60B65D91DC09}" type="pres">
      <dgm:prSet presAssocID="{3F776734-8251-4DC1-A41E-1310B9C4E0DF}" presName="Name25" presStyleLbl="parChTrans1D2" presStyleIdx="0" presStyleCnt="1"/>
      <dgm:spPr/>
    </dgm:pt>
    <dgm:pt modelId="{54D75276-1A39-47DE-9F78-430842048905}" type="pres">
      <dgm:prSet presAssocID="{3F776734-8251-4DC1-A41E-1310B9C4E0DF}" presName="connTx" presStyleLbl="parChTrans1D2" presStyleIdx="0" presStyleCnt="1"/>
      <dgm:spPr/>
    </dgm:pt>
    <dgm:pt modelId="{BD25FEA3-880E-4A34-A722-DAC49D0EFB40}" type="pres">
      <dgm:prSet presAssocID="{54AB7E41-5C57-4A45-B6B9-62FC89821595}" presName="Name30" presStyleCnt="0"/>
      <dgm:spPr/>
    </dgm:pt>
    <dgm:pt modelId="{EA92C18B-A05D-4FF7-A971-9D693147883D}" type="pres">
      <dgm:prSet presAssocID="{54AB7E41-5C57-4A45-B6B9-62FC89821595}" presName="level2Shape" presStyleLbl="node2" presStyleIdx="0" presStyleCnt="1"/>
      <dgm:spPr/>
    </dgm:pt>
    <dgm:pt modelId="{2D20AB04-3706-4054-8CB7-1EFC10C3F140}" type="pres">
      <dgm:prSet presAssocID="{54AB7E41-5C57-4A45-B6B9-62FC89821595}" presName="hierChild3" presStyleCnt="0"/>
      <dgm:spPr/>
    </dgm:pt>
    <dgm:pt modelId="{F29163B2-DA60-41EE-9C93-E9474EB4DAAD}" type="pres">
      <dgm:prSet presAssocID="{794FED05-47DB-45CE-AC08-9990E07312DF}" presName="Name25" presStyleLbl="parChTrans1D3" presStyleIdx="0" presStyleCnt="1"/>
      <dgm:spPr/>
    </dgm:pt>
    <dgm:pt modelId="{A7C50161-927A-47EC-B63B-B8C344690E94}" type="pres">
      <dgm:prSet presAssocID="{794FED05-47DB-45CE-AC08-9990E07312DF}" presName="connTx" presStyleLbl="parChTrans1D3" presStyleIdx="0" presStyleCnt="1"/>
      <dgm:spPr/>
    </dgm:pt>
    <dgm:pt modelId="{C22D641E-C05F-486B-9C0E-53AE13541FE1}" type="pres">
      <dgm:prSet presAssocID="{E8AC750F-2FF6-40E4-8453-D6E0FD024FA1}" presName="Name30" presStyleCnt="0"/>
      <dgm:spPr/>
    </dgm:pt>
    <dgm:pt modelId="{A43CB7CD-31FF-4102-8F6D-F6155D21BFC6}" type="pres">
      <dgm:prSet presAssocID="{E8AC750F-2FF6-40E4-8453-D6E0FD024FA1}" presName="level2Shape" presStyleLbl="node3" presStyleIdx="0" presStyleCnt="1"/>
      <dgm:spPr/>
    </dgm:pt>
    <dgm:pt modelId="{B7FB36E5-4DEE-44D4-A2A0-6C1912C53BC2}" type="pres">
      <dgm:prSet presAssocID="{E8AC750F-2FF6-40E4-8453-D6E0FD024FA1}" presName="hierChild3" presStyleCnt="0"/>
      <dgm:spPr/>
    </dgm:pt>
    <dgm:pt modelId="{78BA1B0B-E510-4D9B-9AC1-CC02C55093C3}" type="pres">
      <dgm:prSet presAssocID="{1B7ABC29-6AD0-4CAF-8F84-4204C85B89FB}" presName="bgShapesFlow" presStyleCnt="0"/>
      <dgm:spPr/>
    </dgm:pt>
    <dgm:pt modelId="{BA91FACB-7DBA-440D-9BF7-42AE2D64738D}" type="pres">
      <dgm:prSet presAssocID="{EBF19A70-8E57-4FB6-84D5-79BC14CFD5E6}" presName="rectComp" presStyleCnt="0"/>
      <dgm:spPr/>
    </dgm:pt>
    <dgm:pt modelId="{DE0BB14A-D822-4924-851B-90EB2A42887E}" type="pres">
      <dgm:prSet presAssocID="{EBF19A70-8E57-4FB6-84D5-79BC14CFD5E6}" presName="bgRect" presStyleLbl="bgShp" presStyleIdx="0" presStyleCnt="3"/>
      <dgm:spPr/>
    </dgm:pt>
    <dgm:pt modelId="{4247AA4C-EDEF-4D47-95CA-32E1C346FC8B}" type="pres">
      <dgm:prSet presAssocID="{EBF19A70-8E57-4FB6-84D5-79BC14CFD5E6}" presName="bgRectTx" presStyleLbl="bgShp" presStyleIdx="0" presStyleCnt="3">
        <dgm:presLayoutVars>
          <dgm:bulletEnabled val="1"/>
        </dgm:presLayoutVars>
      </dgm:prSet>
      <dgm:spPr/>
    </dgm:pt>
    <dgm:pt modelId="{F1FBF346-6B3D-428C-A133-48755C41DE17}" type="pres">
      <dgm:prSet presAssocID="{EBF19A70-8E57-4FB6-84D5-79BC14CFD5E6}" presName="spComp" presStyleCnt="0"/>
      <dgm:spPr/>
    </dgm:pt>
    <dgm:pt modelId="{B77E467D-9CDA-4597-AE56-025586CF3272}" type="pres">
      <dgm:prSet presAssocID="{EBF19A70-8E57-4FB6-84D5-79BC14CFD5E6}" presName="hSp" presStyleCnt="0"/>
      <dgm:spPr/>
    </dgm:pt>
    <dgm:pt modelId="{FF853C27-5415-40A9-A2E0-C81B26A28082}" type="pres">
      <dgm:prSet presAssocID="{0DFF0EA9-1817-4FC2-96D9-3FA511BB639C}" presName="rectComp" presStyleCnt="0"/>
      <dgm:spPr/>
    </dgm:pt>
    <dgm:pt modelId="{0B8BEE4E-FC0A-4A09-B691-27C27CC983DC}" type="pres">
      <dgm:prSet presAssocID="{0DFF0EA9-1817-4FC2-96D9-3FA511BB639C}" presName="bgRect" presStyleLbl="bgShp" presStyleIdx="1" presStyleCnt="3"/>
      <dgm:spPr/>
    </dgm:pt>
    <dgm:pt modelId="{54D7B5A5-D193-4BFE-BDBA-0AE9CFC9E0A3}" type="pres">
      <dgm:prSet presAssocID="{0DFF0EA9-1817-4FC2-96D9-3FA511BB639C}" presName="bgRectTx" presStyleLbl="bgShp" presStyleIdx="1" presStyleCnt="3">
        <dgm:presLayoutVars>
          <dgm:bulletEnabled val="1"/>
        </dgm:presLayoutVars>
      </dgm:prSet>
      <dgm:spPr/>
    </dgm:pt>
    <dgm:pt modelId="{7ADFAF83-27ED-4198-8D18-730A1464140C}" type="pres">
      <dgm:prSet presAssocID="{0DFF0EA9-1817-4FC2-96D9-3FA511BB639C}" presName="spComp" presStyleCnt="0"/>
      <dgm:spPr/>
    </dgm:pt>
    <dgm:pt modelId="{F7D1F5CB-BE84-481C-95C9-62A46F5A6953}" type="pres">
      <dgm:prSet presAssocID="{0DFF0EA9-1817-4FC2-96D9-3FA511BB639C}" presName="hSp" presStyleCnt="0"/>
      <dgm:spPr/>
    </dgm:pt>
    <dgm:pt modelId="{7D7F9804-7D40-4CE4-B083-D1C5F9CF6295}" type="pres">
      <dgm:prSet presAssocID="{B4C86C22-D03C-49B2-9364-2C394F3A3760}" presName="rectComp" presStyleCnt="0"/>
      <dgm:spPr/>
    </dgm:pt>
    <dgm:pt modelId="{E7F398EA-68C9-4C2E-BBBA-5E8CCBFD24D7}" type="pres">
      <dgm:prSet presAssocID="{B4C86C22-D03C-49B2-9364-2C394F3A3760}" presName="bgRect" presStyleLbl="bgShp" presStyleIdx="2" presStyleCnt="3" custLinFactNeighborX="-770" custLinFactNeighborY="-961"/>
      <dgm:spPr/>
    </dgm:pt>
    <dgm:pt modelId="{A2EC79E7-1795-426F-A51A-40D6D19F67C0}" type="pres">
      <dgm:prSet presAssocID="{B4C86C22-D03C-49B2-9364-2C394F3A3760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DED36402-78BE-4FFF-BD00-99876C7F2C5E}" type="presOf" srcId="{3F776734-8251-4DC1-A41E-1310B9C4E0DF}" destId="{54D75276-1A39-47DE-9F78-430842048905}" srcOrd="1" destOrd="0" presId="urn:microsoft.com/office/officeart/2005/8/layout/hierarchy5"/>
    <dgm:cxn modelId="{08BA9B0B-8AAA-41CF-9A9D-8805DAF0033D}" srcId="{1B7ABC29-6AD0-4CAF-8F84-4204C85B89FB}" destId="{EBF19A70-8E57-4FB6-84D5-79BC14CFD5E6}" srcOrd="1" destOrd="0" parTransId="{CEEFA0E0-3C72-48D1-9AE1-1FC403A90396}" sibTransId="{632AEDB1-0101-48A7-A628-6227CCAAC626}"/>
    <dgm:cxn modelId="{CD11A80D-15D2-40D5-AADA-60F7A45A1BBA}" type="presOf" srcId="{3F776734-8251-4DC1-A41E-1310B9C4E0DF}" destId="{180A2268-9D56-4367-AE95-60B65D91DC09}" srcOrd="0" destOrd="0" presId="urn:microsoft.com/office/officeart/2005/8/layout/hierarchy5"/>
    <dgm:cxn modelId="{E47B3810-6629-4BC4-A369-EAEE83119C2B}" type="presOf" srcId="{54AB7E41-5C57-4A45-B6B9-62FC89821595}" destId="{EA92C18B-A05D-4FF7-A971-9D693147883D}" srcOrd="0" destOrd="0" presId="urn:microsoft.com/office/officeart/2005/8/layout/hierarchy5"/>
    <dgm:cxn modelId="{7B8B5316-47DC-4523-A61F-2C85A6121FB5}" type="presOf" srcId="{B4C86C22-D03C-49B2-9364-2C394F3A3760}" destId="{E7F398EA-68C9-4C2E-BBBA-5E8CCBFD24D7}" srcOrd="0" destOrd="0" presId="urn:microsoft.com/office/officeart/2005/8/layout/hierarchy5"/>
    <dgm:cxn modelId="{AD75BF27-F99B-41CF-AC9E-F90F51E9A186}" type="presOf" srcId="{B4C86C22-D03C-49B2-9364-2C394F3A3760}" destId="{A2EC79E7-1795-426F-A51A-40D6D19F67C0}" srcOrd="1" destOrd="0" presId="urn:microsoft.com/office/officeart/2005/8/layout/hierarchy5"/>
    <dgm:cxn modelId="{1B1D9D2D-B7FC-475A-87CC-AFFD2927E69A}" srcId="{54AB7E41-5C57-4A45-B6B9-62FC89821595}" destId="{E8AC750F-2FF6-40E4-8453-D6E0FD024FA1}" srcOrd="0" destOrd="0" parTransId="{794FED05-47DB-45CE-AC08-9990E07312DF}" sibTransId="{167E70D7-A0FE-43F6-8001-0C27BA55CC93}"/>
    <dgm:cxn modelId="{AFB74430-87BF-44CC-9B44-75CC7CAB7222}" type="presOf" srcId="{0DFF0EA9-1817-4FC2-96D9-3FA511BB639C}" destId="{0B8BEE4E-FC0A-4A09-B691-27C27CC983DC}" srcOrd="0" destOrd="0" presId="urn:microsoft.com/office/officeart/2005/8/layout/hierarchy5"/>
    <dgm:cxn modelId="{A2CFD83E-24A7-4C88-9670-28CA64A59B80}" type="presOf" srcId="{0DFF0EA9-1817-4FC2-96D9-3FA511BB639C}" destId="{54D7B5A5-D193-4BFE-BDBA-0AE9CFC9E0A3}" srcOrd="1" destOrd="0" presId="urn:microsoft.com/office/officeart/2005/8/layout/hierarchy5"/>
    <dgm:cxn modelId="{62536B5B-E14D-4D39-B69D-485350D8E774}" type="presOf" srcId="{B9D7BD10-5916-40EF-A16E-504931AE48A5}" destId="{5012B746-0349-4B19-9E33-5C3D2C33AB46}" srcOrd="0" destOrd="0" presId="urn:microsoft.com/office/officeart/2005/8/layout/hierarchy5"/>
    <dgm:cxn modelId="{DB2CAD41-2082-4837-B37D-C3EE0A812178}" type="presOf" srcId="{EBF19A70-8E57-4FB6-84D5-79BC14CFD5E6}" destId="{4247AA4C-EDEF-4D47-95CA-32E1C346FC8B}" srcOrd="1" destOrd="0" presId="urn:microsoft.com/office/officeart/2005/8/layout/hierarchy5"/>
    <dgm:cxn modelId="{F033866A-4B28-4F5B-8E15-8B5D46EDD736}" type="presOf" srcId="{794FED05-47DB-45CE-AC08-9990E07312DF}" destId="{A7C50161-927A-47EC-B63B-B8C344690E94}" srcOrd="1" destOrd="0" presId="urn:microsoft.com/office/officeart/2005/8/layout/hierarchy5"/>
    <dgm:cxn modelId="{87C19957-418C-45F0-9E83-2A1726FE94B7}" type="presOf" srcId="{1B7ABC29-6AD0-4CAF-8F84-4204C85B89FB}" destId="{F9EA1C16-43D4-4B56-8716-7BB87E8EDED8}" srcOrd="0" destOrd="0" presId="urn:microsoft.com/office/officeart/2005/8/layout/hierarchy5"/>
    <dgm:cxn modelId="{DA631D78-554C-4A87-86A3-E8C94A23AF67}" type="presOf" srcId="{E8AC750F-2FF6-40E4-8453-D6E0FD024FA1}" destId="{A43CB7CD-31FF-4102-8F6D-F6155D21BFC6}" srcOrd="0" destOrd="0" presId="urn:microsoft.com/office/officeart/2005/8/layout/hierarchy5"/>
    <dgm:cxn modelId="{A0A2B48D-B122-4560-A4C7-118231BAA932}" srcId="{1B7ABC29-6AD0-4CAF-8F84-4204C85B89FB}" destId="{B9D7BD10-5916-40EF-A16E-504931AE48A5}" srcOrd="0" destOrd="0" parTransId="{35463535-5C15-44B7-96BB-CEABAE237869}" sibTransId="{61E0EFF3-8788-4B3E-8E3B-0C1E8CDFCBFF}"/>
    <dgm:cxn modelId="{BE8AF0A9-B974-45A4-984B-F5923FE213FE}" srcId="{B9D7BD10-5916-40EF-A16E-504931AE48A5}" destId="{54AB7E41-5C57-4A45-B6B9-62FC89821595}" srcOrd="0" destOrd="0" parTransId="{3F776734-8251-4DC1-A41E-1310B9C4E0DF}" sibTransId="{AF2654AB-F035-4DB6-8801-383D1D61C422}"/>
    <dgm:cxn modelId="{688123B8-625F-43F0-B01D-6B2532746062}" srcId="{1B7ABC29-6AD0-4CAF-8F84-4204C85B89FB}" destId="{0DFF0EA9-1817-4FC2-96D9-3FA511BB639C}" srcOrd="2" destOrd="0" parTransId="{C431AAEE-7ECB-40C7-8398-A26794AA6A7C}" sibTransId="{BD1AF509-E15C-4F67-B812-3711946D9CC4}"/>
    <dgm:cxn modelId="{C07A50BC-8EA2-46CF-B353-A647DCCF1A85}" type="presOf" srcId="{794FED05-47DB-45CE-AC08-9990E07312DF}" destId="{F29163B2-DA60-41EE-9C93-E9474EB4DAAD}" srcOrd="0" destOrd="0" presId="urn:microsoft.com/office/officeart/2005/8/layout/hierarchy5"/>
    <dgm:cxn modelId="{CA00D1D6-B56A-4D18-856D-77F277041EF6}" srcId="{1B7ABC29-6AD0-4CAF-8F84-4204C85B89FB}" destId="{B4C86C22-D03C-49B2-9364-2C394F3A3760}" srcOrd="3" destOrd="0" parTransId="{EDB6C72C-AEE8-4421-A383-0B0D7ED8EA44}" sibTransId="{57151FA6-FE2D-4918-92D5-CD1E54482B1C}"/>
    <dgm:cxn modelId="{905F9EE9-85B6-4DAC-A798-6FF5ACD0F146}" type="presOf" srcId="{EBF19A70-8E57-4FB6-84D5-79BC14CFD5E6}" destId="{DE0BB14A-D822-4924-851B-90EB2A42887E}" srcOrd="0" destOrd="0" presId="urn:microsoft.com/office/officeart/2005/8/layout/hierarchy5"/>
    <dgm:cxn modelId="{13CDFBA5-B808-4F73-9317-5A114A611B06}" type="presParOf" srcId="{F9EA1C16-43D4-4B56-8716-7BB87E8EDED8}" destId="{28F3A0A7-DCB0-41B2-BBE2-C4061E1961D4}" srcOrd="0" destOrd="0" presId="urn:microsoft.com/office/officeart/2005/8/layout/hierarchy5"/>
    <dgm:cxn modelId="{DA8DAD75-AA1F-437A-B50E-EE83D4A672A0}" type="presParOf" srcId="{28F3A0A7-DCB0-41B2-BBE2-C4061E1961D4}" destId="{C957ED17-9636-4658-AB89-F7B58B4C259F}" srcOrd="0" destOrd="0" presId="urn:microsoft.com/office/officeart/2005/8/layout/hierarchy5"/>
    <dgm:cxn modelId="{75AFB62B-316E-4E64-99A7-47F565852133}" type="presParOf" srcId="{28F3A0A7-DCB0-41B2-BBE2-C4061E1961D4}" destId="{CF79AF05-021F-41A3-B3D0-73B36AC81891}" srcOrd="1" destOrd="0" presId="urn:microsoft.com/office/officeart/2005/8/layout/hierarchy5"/>
    <dgm:cxn modelId="{EA58ED2F-AEAC-46FA-9BEE-CDD4AF5020F9}" type="presParOf" srcId="{CF79AF05-021F-41A3-B3D0-73B36AC81891}" destId="{A9BC88B6-5753-40E2-9AFC-5868A5B766AE}" srcOrd="0" destOrd="0" presId="urn:microsoft.com/office/officeart/2005/8/layout/hierarchy5"/>
    <dgm:cxn modelId="{C40F1F85-CD6B-4375-948B-CB552B244435}" type="presParOf" srcId="{A9BC88B6-5753-40E2-9AFC-5868A5B766AE}" destId="{5012B746-0349-4B19-9E33-5C3D2C33AB46}" srcOrd="0" destOrd="0" presId="urn:microsoft.com/office/officeart/2005/8/layout/hierarchy5"/>
    <dgm:cxn modelId="{B6E3A55B-6FFC-4D94-A77E-964A2BEBDF5F}" type="presParOf" srcId="{A9BC88B6-5753-40E2-9AFC-5868A5B766AE}" destId="{61F55623-61BA-4BB8-9B7C-DF487421A484}" srcOrd="1" destOrd="0" presId="urn:microsoft.com/office/officeart/2005/8/layout/hierarchy5"/>
    <dgm:cxn modelId="{54054EB1-8217-4217-A73B-10D6464849CC}" type="presParOf" srcId="{61F55623-61BA-4BB8-9B7C-DF487421A484}" destId="{180A2268-9D56-4367-AE95-60B65D91DC09}" srcOrd="0" destOrd="0" presId="urn:microsoft.com/office/officeart/2005/8/layout/hierarchy5"/>
    <dgm:cxn modelId="{43A5CDA4-BCD6-407E-82A1-41D85ED1D6A6}" type="presParOf" srcId="{180A2268-9D56-4367-AE95-60B65D91DC09}" destId="{54D75276-1A39-47DE-9F78-430842048905}" srcOrd="0" destOrd="0" presId="urn:microsoft.com/office/officeart/2005/8/layout/hierarchy5"/>
    <dgm:cxn modelId="{8C93E9DC-E206-4DF4-8B44-CA7F4843533E}" type="presParOf" srcId="{61F55623-61BA-4BB8-9B7C-DF487421A484}" destId="{BD25FEA3-880E-4A34-A722-DAC49D0EFB40}" srcOrd="1" destOrd="0" presId="urn:microsoft.com/office/officeart/2005/8/layout/hierarchy5"/>
    <dgm:cxn modelId="{30A8477E-2D9B-42DB-A2AC-90B77ABAD58C}" type="presParOf" srcId="{BD25FEA3-880E-4A34-A722-DAC49D0EFB40}" destId="{EA92C18B-A05D-4FF7-A971-9D693147883D}" srcOrd="0" destOrd="0" presId="urn:microsoft.com/office/officeart/2005/8/layout/hierarchy5"/>
    <dgm:cxn modelId="{08B01629-B8AA-4C11-8F48-CBA1C4E1F077}" type="presParOf" srcId="{BD25FEA3-880E-4A34-A722-DAC49D0EFB40}" destId="{2D20AB04-3706-4054-8CB7-1EFC10C3F140}" srcOrd="1" destOrd="0" presId="urn:microsoft.com/office/officeart/2005/8/layout/hierarchy5"/>
    <dgm:cxn modelId="{EF11BDCB-DC7F-462F-A41C-FA19F2EE957E}" type="presParOf" srcId="{2D20AB04-3706-4054-8CB7-1EFC10C3F140}" destId="{F29163B2-DA60-41EE-9C93-E9474EB4DAAD}" srcOrd="0" destOrd="0" presId="urn:microsoft.com/office/officeart/2005/8/layout/hierarchy5"/>
    <dgm:cxn modelId="{6046423E-1160-4DA9-A76C-99BA3EFE77FD}" type="presParOf" srcId="{F29163B2-DA60-41EE-9C93-E9474EB4DAAD}" destId="{A7C50161-927A-47EC-B63B-B8C344690E94}" srcOrd="0" destOrd="0" presId="urn:microsoft.com/office/officeart/2005/8/layout/hierarchy5"/>
    <dgm:cxn modelId="{A30031D6-A3AA-4196-94F4-5B0D3F242568}" type="presParOf" srcId="{2D20AB04-3706-4054-8CB7-1EFC10C3F140}" destId="{C22D641E-C05F-486B-9C0E-53AE13541FE1}" srcOrd="1" destOrd="0" presId="urn:microsoft.com/office/officeart/2005/8/layout/hierarchy5"/>
    <dgm:cxn modelId="{149CEF83-FA2A-468A-807C-96A2B4785C51}" type="presParOf" srcId="{C22D641E-C05F-486B-9C0E-53AE13541FE1}" destId="{A43CB7CD-31FF-4102-8F6D-F6155D21BFC6}" srcOrd="0" destOrd="0" presId="urn:microsoft.com/office/officeart/2005/8/layout/hierarchy5"/>
    <dgm:cxn modelId="{9DF59200-851D-4C30-AFB2-78BC46249024}" type="presParOf" srcId="{C22D641E-C05F-486B-9C0E-53AE13541FE1}" destId="{B7FB36E5-4DEE-44D4-A2A0-6C1912C53BC2}" srcOrd="1" destOrd="0" presId="urn:microsoft.com/office/officeart/2005/8/layout/hierarchy5"/>
    <dgm:cxn modelId="{6E5B66BA-5B1C-491E-B2F6-262570B8437C}" type="presParOf" srcId="{F9EA1C16-43D4-4B56-8716-7BB87E8EDED8}" destId="{78BA1B0B-E510-4D9B-9AC1-CC02C55093C3}" srcOrd="1" destOrd="0" presId="urn:microsoft.com/office/officeart/2005/8/layout/hierarchy5"/>
    <dgm:cxn modelId="{19C1A167-6649-4D25-A357-F26B3C7C2284}" type="presParOf" srcId="{78BA1B0B-E510-4D9B-9AC1-CC02C55093C3}" destId="{BA91FACB-7DBA-440D-9BF7-42AE2D64738D}" srcOrd="0" destOrd="0" presId="urn:microsoft.com/office/officeart/2005/8/layout/hierarchy5"/>
    <dgm:cxn modelId="{FB2F0F1C-6864-4773-89FF-8342C4FD57DE}" type="presParOf" srcId="{BA91FACB-7DBA-440D-9BF7-42AE2D64738D}" destId="{DE0BB14A-D822-4924-851B-90EB2A42887E}" srcOrd="0" destOrd="0" presId="urn:microsoft.com/office/officeart/2005/8/layout/hierarchy5"/>
    <dgm:cxn modelId="{BFD54ED7-A150-42BA-BA84-FAB9872AABF8}" type="presParOf" srcId="{BA91FACB-7DBA-440D-9BF7-42AE2D64738D}" destId="{4247AA4C-EDEF-4D47-95CA-32E1C346FC8B}" srcOrd="1" destOrd="0" presId="urn:microsoft.com/office/officeart/2005/8/layout/hierarchy5"/>
    <dgm:cxn modelId="{1C2AC294-2133-487C-AC7E-D69BF6151DAC}" type="presParOf" srcId="{78BA1B0B-E510-4D9B-9AC1-CC02C55093C3}" destId="{F1FBF346-6B3D-428C-A133-48755C41DE17}" srcOrd="1" destOrd="0" presId="urn:microsoft.com/office/officeart/2005/8/layout/hierarchy5"/>
    <dgm:cxn modelId="{66BE5094-01FF-41B3-B113-2E8246B86D22}" type="presParOf" srcId="{F1FBF346-6B3D-428C-A133-48755C41DE17}" destId="{B77E467D-9CDA-4597-AE56-025586CF3272}" srcOrd="0" destOrd="0" presId="urn:microsoft.com/office/officeart/2005/8/layout/hierarchy5"/>
    <dgm:cxn modelId="{969AC596-030F-412B-A514-F58DACAD6EB8}" type="presParOf" srcId="{78BA1B0B-E510-4D9B-9AC1-CC02C55093C3}" destId="{FF853C27-5415-40A9-A2E0-C81B26A28082}" srcOrd="2" destOrd="0" presId="urn:microsoft.com/office/officeart/2005/8/layout/hierarchy5"/>
    <dgm:cxn modelId="{C58239D6-DE54-4F3D-883A-0894DA97B5E9}" type="presParOf" srcId="{FF853C27-5415-40A9-A2E0-C81B26A28082}" destId="{0B8BEE4E-FC0A-4A09-B691-27C27CC983DC}" srcOrd="0" destOrd="0" presId="urn:microsoft.com/office/officeart/2005/8/layout/hierarchy5"/>
    <dgm:cxn modelId="{3682828C-DF3D-4B47-A634-DB71908C7C8C}" type="presParOf" srcId="{FF853C27-5415-40A9-A2E0-C81B26A28082}" destId="{54D7B5A5-D193-4BFE-BDBA-0AE9CFC9E0A3}" srcOrd="1" destOrd="0" presId="urn:microsoft.com/office/officeart/2005/8/layout/hierarchy5"/>
    <dgm:cxn modelId="{80463484-F688-4C3C-B4B7-25B6B265BDF4}" type="presParOf" srcId="{78BA1B0B-E510-4D9B-9AC1-CC02C55093C3}" destId="{7ADFAF83-27ED-4198-8D18-730A1464140C}" srcOrd="3" destOrd="0" presId="urn:microsoft.com/office/officeart/2005/8/layout/hierarchy5"/>
    <dgm:cxn modelId="{135CFB52-646C-42CA-8FD2-CE56682179C0}" type="presParOf" srcId="{7ADFAF83-27ED-4198-8D18-730A1464140C}" destId="{F7D1F5CB-BE84-481C-95C9-62A46F5A6953}" srcOrd="0" destOrd="0" presId="urn:microsoft.com/office/officeart/2005/8/layout/hierarchy5"/>
    <dgm:cxn modelId="{B82A1820-B677-4E4E-A208-4C7E7E226F0B}" type="presParOf" srcId="{78BA1B0B-E510-4D9B-9AC1-CC02C55093C3}" destId="{7D7F9804-7D40-4CE4-B083-D1C5F9CF6295}" srcOrd="4" destOrd="0" presId="urn:microsoft.com/office/officeart/2005/8/layout/hierarchy5"/>
    <dgm:cxn modelId="{C2595E85-FDBA-4464-8058-94493081B29F}" type="presParOf" srcId="{7D7F9804-7D40-4CE4-B083-D1C5F9CF6295}" destId="{E7F398EA-68C9-4C2E-BBBA-5E8CCBFD24D7}" srcOrd="0" destOrd="0" presId="urn:microsoft.com/office/officeart/2005/8/layout/hierarchy5"/>
    <dgm:cxn modelId="{1D79B24F-59B5-49D1-BC38-4EADCE49FCB8}" type="presParOf" srcId="{7D7F9804-7D40-4CE4-B083-D1C5F9CF6295}" destId="{A2EC79E7-1795-426F-A51A-40D6D19F67C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83C0CA-3FB6-47D7-9DC2-E2C6C524134E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762EF590-160F-420F-9AE1-49883AA928AE}">
      <dgm:prSet phldrT="[Text]"/>
      <dgm:spPr/>
      <dgm:t>
        <a:bodyPr/>
        <a:lstStyle/>
        <a:p>
          <a:r>
            <a:rPr lang="nb-NO"/>
            <a:t>SFI – Center </a:t>
          </a:r>
          <a:r>
            <a:rPr lang="nb-NO" err="1"/>
            <a:t>of</a:t>
          </a:r>
          <a:r>
            <a:rPr lang="nb-NO"/>
            <a:t> </a:t>
          </a:r>
          <a:r>
            <a:rPr lang="nb-NO" err="1"/>
            <a:t>mobility</a:t>
          </a:r>
          <a:endParaRPr lang="nb-NO"/>
        </a:p>
      </dgm:t>
    </dgm:pt>
    <dgm:pt modelId="{01162254-2848-468D-9D3F-B3E1D82D3659}" type="parTrans" cxnId="{A66EE9FA-AA4D-4D47-BB77-2EACB11BC450}">
      <dgm:prSet/>
      <dgm:spPr/>
      <dgm:t>
        <a:bodyPr/>
        <a:lstStyle/>
        <a:p>
          <a:endParaRPr lang="nb-NO"/>
        </a:p>
      </dgm:t>
    </dgm:pt>
    <dgm:pt modelId="{BAF6B390-E4A5-4905-9963-E10E9D044758}" type="sibTrans" cxnId="{A66EE9FA-AA4D-4D47-BB77-2EACB11BC450}">
      <dgm:prSet/>
      <dgm:spPr/>
      <dgm:t>
        <a:bodyPr/>
        <a:lstStyle/>
        <a:p>
          <a:endParaRPr lang="nb-NO"/>
        </a:p>
      </dgm:t>
    </dgm:pt>
    <dgm:pt modelId="{C6C784A2-4A7D-43EF-8E3F-984CEF035ECE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</a:t>
          </a:r>
        </a:p>
      </dgm:t>
    </dgm:pt>
    <dgm:pt modelId="{6F7D707B-F7A3-4832-BE20-1352AD79E0E2}" type="parTrans" cxnId="{F4D63BC3-513A-4C28-BDA1-96CEA16B4165}">
      <dgm:prSet/>
      <dgm:spPr/>
      <dgm:t>
        <a:bodyPr/>
        <a:lstStyle/>
        <a:p>
          <a:endParaRPr lang="nb-NO"/>
        </a:p>
      </dgm:t>
    </dgm:pt>
    <dgm:pt modelId="{8D83A46D-5D2D-4FF3-A4B6-B34629373978}" type="sibTrans" cxnId="{F4D63BC3-513A-4C28-BDA1-96CEA16B4165}">
      <dgm:prSet/>
      <dgm:spPr/>
      <dgm:t>
        <a:bodyPr/>
        <a:lstStyle/>
        <a:p>
          <a:endParaRPr lang="nb-NO"/>
        </a:p>
      </dgm:t>
    </dgm:pt>
    <dgm:pt modelId="{80A6B342-B8A7-47A3-B530-17718B3AAE25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 EU H2020</a:t>
          </a:r>
        </a:p>
      </dgm:t>
    </dgm:pt>
    <dgm:pt modelId="{10C88997-CC8C-4B8C-9053-34A7042019AC}" type="parTrans" cxnId="{0AF0AA52-269F-4B8F-B242-DD43502DC574}">
      <dgm:prSet/>
      <dgm:spPr/>
      <dgm:t>
        <a:bodyPr/>
        <a:lstStyle/>
        <a:p>
          <a:endParaRPr lang="nb-NO"/>
        </a:p>
      </dgm:t>
    </dgm:pt>
    <dgm:pt modelId="{B7CB029D-30ED-4C61-B4C5-6E860BFEA3A2}" type="sibTrans" cxnId="{0AF0AA52-269F-4B8F-B242-DD43502DC574}">
      <dgm:prSet/>
      <dgm:spPr/>
      <dgm:t>
        <a:bodyPr/>
        <a:lstStyle/>
        <a:p>
          <a:endParaRPr lang="nb-NO"/>
        </a:p>
      </dgm:t>
    </dgm:pt>
    <dgm:pt modelId="{EF64ACB9-1F7A-4916-B4F0-BE435D3742E4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 Næringsliv</a:t>
          </a:r>
        </a:p>
      </dgm:t>
    </dgm:pt>
    <dgm:pt modelId="{A65B4E19-7F7C-4C62-B35B-D4DAE3E68C9D}" type="parTrans" cxnId="{118B3EFF-5AC3-43FC-BDDE-88A25025E51C}">
      <dgm:prSet/>
      <dgm:spPr/>
      <dgm:t>
        <a:bodyPr/>
        <a:lstStyle/>
        <a:p>
          <a:endParaRPr lang="nb-NO"/>
        </a:p>
      </dgm:t>
    </dgm:pt>
    <dgm:pt modelId="{1B521E7D-1B57-4291-BA29-03511A0F757D}" type="sibTrans" cxnId="{118B3EFF-5AC3-43FC-BDDE-88A25025E51C}">
      <dgm:prSet/>
      <dgm:spPr/>
      <dgm:t>
        <a:bodyPr/>
        <a:lstStyle/>
        <a:p>
          <a:endParaRPr lang="nb-NO"/>
        </a:p>
      </dgm:t>
    </dgm:pt>
    <dgm:pt modelId="{B767DE2B-E292-44DC-83CE-E777DCBC27A9}">
      <dgm:prSet phldrT="[Text]"/>
      <dgm:spPr/>
      <dgm:t>
        <a:bodyPr/>
        <a:lstStyle/>
        <a:p>
          <a:r>
            <a:rPr lang="nb-NO"/>
            <a:t>PreventIT</a:t>
          </a:r>
        </a:p>
      </dgm:t>
    </dgm:pt>
    <dgm:pt modelId="{8639AA8C-1C31-4664-8882-051BABFCB0CC}" type="parTrans" cxnId="{881ECFAD-2EA4-4858-984D-79ACF6CEC344}">
      <dgm:prSet/>
      <dgm:spPr/>
      <dgm:t>
        <a:bodyPr/>
        <a:lstStyle/>
        <a:p>
          <a:endParaRPr lang="nb-NO"/>
        </a:p>
      </dgm:t>
    </dgm:pt>
    <dgm:pt modelId="{787D14D5-CA57-4913-8AB8-9139D263D5BE}" type="sibTrans" cxnId="{881ECFAD-2EA4-4858-984D-79ACF6CEC344}">
      <dgm:prSet/>
      <dgm:spPr/>
      <dgm:t>
        <a:bodyPr/>
        <a:lstStyle/>
        <a:p>
          <a:endParaRPr lang="nb-NO"/>
        </a:p>
      </dgm:t>
    </dgm:pt>
    <dgm:pt modelId="{8A38C172-9915-4896-A26A-F89FE44C83B9}">
      <dgm:prSet phldrT="[Text]"/>
      <dgm:spPr/>
      <dgm:t>
        <a:bodyPr/>
        <a:lstStyle/>
        <a:p>
          <a:r>
            <a:rPr lang="nb-NO"/>
            <a:t>PreventIT EU H2020</a:t>
          </a:r>
        </a:p>
      </dgm:t>
    </dgm:pt>
    <dgm:pt modelId="{A5F253EE-3E89-4503-89B1-870630F1BD1F}" type="parTrans" cxnId="{B14E9A79-9D56-4603-BAE6-0958224DF47F}">
      <dgm:prSet/>
      <dgm:spPr/>
      <dgm:t>
        <a:bodyPr/>
        <a:lstStyle/>
        <a:p>
          <a:endParaRPr lang="nb-NO"/>
        </a:p>
      </dgm:t>
    </dgm:pt>
    <dgm:pt modelId="{3361B378-021C-4F93-BEC5-1983A1225D3F}" type="sibTrans" cxnId="{B14E9A79-9D56-4603-BAE6-0958224DF47F}">
      <dgm:prSet/>
      <dgm:spPr/>
      <dgm:t>
        <a:bodyPr/>
        <a:lstStyle/>
        <a:p>
          <a:endParaRPr lang="nb-NO"/>
        </a:p>
      </dgm:t>
    </dgm:pt>
    <dgm:pt modelId="{36A70192-87D1-4539-BBC7-D48A2D0C89D9}">
      <dgm:prSet phldrT="[Text]"/>
      <dgm:spPr/>
      <dgm:t>
        <a:bodyPr/>
        <a:lstStyle/>
        <a:p>
          <a:r>
            <a:rPr lang="nb-NO"/>
            <a:t>Hovedprosjekt</a:t>
          </a:r>
        </a:p>
      </dgm:t>
    </dgm:pt>
    <dgm:pt modelId="{202BE64C-E5A6-4383-BFB2-9BA6F4438CCC}" type="parTrans" cxnId="{65E566E5-75EF-4D84-B6F2-9B9C8BB7BFB3}">
      <dgm:prSet/>
      <dgm:spPr/>
      <dgm:t>
        <a:bodyPr/>
        <a:lstStyle/>
        <a:p>
          <a:endParaRPr lang="nb-NO"/>
        </a:p>
      </dgm:t>
    </dgm:pt>
    <dgm:pt modelId="{020F2221-9E53-437F-A3B4-F5C2E82D79C8}" type="sibTrans" cxnId="{65E566E5-75EF-4D84-B6F2-9B9C8BB7BFB3}">
      <dgm:prSet/>
      <dgm:spPr/>
      <dgm:t>
        <a:bodyPr/>
        <a:lstStyle/>
        <a:p>
          <a:endParaRPr lang="nb-NO"/>
        </a:p>
      </dgm:t>
    </dgm:pt>
    <dgm:pt modelId="{59CC6260-C883-4665-9988-77AE7AE67A81}">
      <dgm:prSet phldrT="[Text]"/>
      <dgm:spPr/>
      <dgm:t>
        <a:bodyPr/>
        <a:lstStyle/>
        <a:p>
          <a:r>
            <a:rPr lang="nb-NO"/>
            <a:t>Prosjekt</a:t>
          </a:r>
        </a:p>
      </dgm:t>
    </dgm:pt>
    <dgm:pt modelId="{C0095768-6CF2-46EC-AE9D-0EF09AA26C46}" type="parTrans" cxnId="{092B1F5A-985D-4AA7-9BC6-59215BAC8837}">
      <dgm:prSet/>
      <dgm:spPr/>
      <dgm:t>
        <a:bodyPr/>
        <a:lstStyle/>
        <a:p>
          <a:endParaRPr lang="nb-NO"/>
        </a:p>
      </dgm:t>
    </dgm:pt>
    <dgm:pt modelId="{3967ACEC-70FB-4BCE-8C80-58BCD7CE55D0}" type="sibTrans" cxnId="{092B1F5A-985D-4AA7-9BC6-59215BAC8837}">
      <dgm:prSet/>
      <dgm:spPr/>
      <dgm:t>
        <a:bodyPr/>
        <a:lstStyle/>
        <a:p>
          <a:endParaRPr lang="nb-NO"/>
        </a:p>
      </dgm:t>
    </dgm:pt>
    <dgm:pt modelId="{AD75AA9B-61F9-4782-9667-2016054E002F}">
      <dgm:prSet phldrT="[Text]"/>
      <dgm:spPr/>
      <dgm:t>
        <a:bodyPr/>
        <a:lstStyle/>
        <a:p>
          <a:r>
            <a:rPr lang="nb-NO"/>
            <a:t>Delprosjekt</a:t>
          </a:r>
        </a:p>
      </dgm:t>
    </dgm:pt>
    <dgm:pt modelId="{DE4AF088-E188-4841-8D66-9F8D3127C0D0}" type="parTrans" cxnId="{F2B1FCB4-4716-46AC-B966-A89E82170800}">
      <dgm:prSet/>
      <dgm:spPr/>
      <dgm:t>
        <a:bodyPr/>
        <a:lstStyle/>
        <a:p>
          <a:endParaRPr lang="nb-NO"/>
        </a:p>
      </dgm:t>
    </dgm:pt>
    <dgm:pt modelId="{D8ECF68D-41C1-4481-BA71-51DF3CBA8583}" type="sibTrans" cxnId="{F2B1FCB4-4716-46AC-B966-A89E82170800}">
      <dgm:prSet/>
      <dgm:spPr/>
      <dgm:t>
        <a:bodyPr/>
        <a:lstStyle/>
        <a:p>
          <a:endParaRPr lang="nb-NO"/>
        </a:p>
      </dgm:t>
    </dgm:pt>
    <dgm:pt modelId="{4D801C41-E2EC-4903-BB40-585239280C9B}">
      <dgm:prSet phldrT="[Text]"/>
      <dgm:spPr/>
      <dgm:t>
        <a:bodyPr/>
        <a:lstStyle/>
        <a:p>
          <a:r>
            <a:rPr lang="nb-NO"/>
            <a:t>Arbeidspakke</a:t>
          </a:r>
        </a:p>
      </dgm:t>
    </dgm:pt>
    <dgm:pt modelId="{7FED8FF8-9638-4BA6-BC77-3E08E886765D}" type="parTrans" cxnId="{ECEC449C-B935-4756-88ED-9C4225E98EF2}">
      <dgm:prSet/>
      <dgm:spPr/>
      <dgm:t>
        <a:bodyPr/>
        <a:lstStyle/>
        <a:p>
          <a:endParaRPr lang="nb-NO"/>
        </a:p>
      </dgm:t>
    </dgm:pt>
    <dgm:pt modelId="{1DBC3AC0-8429-4395-9959-10FBCA67C6FB}" type="sibTrans" cxnId="{ECEC449C-B935-4756-88ED-9C4225E98EF2}">
      <dgm:prSet/>
      <dgm:spPr/>
      <dgm:t>
        <a:bodyPr/>
        <a:lstStyle/>
        <a:p>
          <a:endParaRPr lang="nb-NO"/>
        </a:p>
      </dgm:t>
    </dgm:pt>
    <dgm:pt modelId="{9520B4B4-2947-4A1D-A27E-B45600700ECC}">
      <dgm:prSet phldrT="[Text]"/>
      <dgm:spPr/>
      <dgm:t>
        <a:bodyPr/>
        <a:lstStyle/>
        <a:p>
          <a:r>
            <a:rPr lang="nb-NO"/>
            <a:t>WP1</a:t>
          </a:r>
        </a:p>
      </dgm:t>
    </dgm:pt>
    <dgm:pt modelId="{AC4F6EAA-738D-43AF-BAEB-0AD9EC1FC858}" type="parTrans" cxnId="{2C81549B-4DD0-4BF0-9B9C-892414C7E29E}">
      <dgm:prSet/>
      <dgm:spPr/>
      <dgm:t>
        <a:bodyPr/>
        <a:lstStyle/>
        <a:p>
          <a:endParaRPr lang="nb-NO"/>
        </a:p>
      </dgm:t>
    </dgm:pt>
    <dgm:pt modelId="{6AED8FDF-8460-447A-93FF-4FFAFC85DD5E}" type="sibTrans" cxnId="{2C81549B-4DD0-4BF0-9B9C-892414C7E29E}">
      <dgm:prSet/>
      <dgm:spPr/>
      <dgm:t>
        <a:bodyPr/>
        <a:lstStyle/>
        <a:p>
          <a:endParaRPr lang="nb-NO"/>
        </a:p>
      </dgm:t>
    </dgm:pt>
    <dgm:pt modelId="{80529097-2085-498F-BB8D-0B41E7DC0CB1}">
      <dgm:prSet phldrT="[Text]"/>
      <dgm:spPr/>
      <dgm:t>
        <a:bodyPr/>
        <a:lstStyle/>
        <a:p>
          <a:r>
            <a:rPr lang="nb-NO"/>
            <a:t>WP2</a:t>
          </a:r>
        </a:p>
      </dgm:t>
    </dgm:pt>
    <dgm:pt modelId="{45A06BB2-8211-4402-98E7-A40644B4442B}" type="parTrans" cxnId="{FFB52BD3-7F04-461B-B73C-F88EB19B7E17}">
      <dgm:prSet/>
      <dgm:spPr/>
      <dgm:t>
        <a:bodyPr/>
        <a:lstStyle/>
        <a:p>
          <a:endParaRPr lang="nb-NO"/>
        </a:p>
      </dgm:t>
    </dgm:pt>
    <dgm:pt modelId="{DDDEBDE5-B6B8-4376-81B6-63DFA9A7A462}" type="sibTrans" cxnId="{FFB52BD3-7F04-461B-B73C-F88EB19B7E17}">
      <dgm:prSet/>
      <dgm:spPr/>
      <dgm:t>
        <a:bodyPr/>
        <a:lstStyle/>
        <a:p>
          <a:endParaRPr lang="nb-NO"/>
        </a:p>
      </dgm:t>
    </dgm:pt>
    <dgm:pt modelId="{D3A3D984-39A3-423C-A139-B7F39E3E0383}">
      <dgm:prSet phldrT="[Text]"/>
      <dgm:spPr/>
      <dgm:t>
        <a:bodyPr/>
        <a:lstStyle/>
        <a:p>
          <a:r>
            <a:rPr lang="nb-NO"/>
            <a:t>WP3</a:t>
          </a:r>
        </a:p>
      </dgm:t>
    </dgm:pt>
    <dgm:pt modelId="{21826128-BEE0-49F3-99A7-4DF3413A60CD}" type="parTrans" cxnId="{1BF7C81F-0971-413D-9770-C9FD60434F43}">
      <dgm:prSet/>
      <dgm:spPr/>
      <dgm:t>
        <a:bodyPr/>
        <a:lstStyle/>
        <a:p>
          <a:endParaRPr lang="nb-NO"/>
        </a:p>
      </dgm:t>
    </dgm:pt>
    <dgm:pt modelId="{6CB36300-7D04-4BE3-B2E8-F71A18A842F3}" type="sibTrans" cxnId="{1BF7C81F-0971-413D-9770-C9FD60434F43}">
      <dgm:prSet/>
      <dgm:spPr/>
      <dgm:t>
        <a:bodyPr/>
        <a:lstStyle/>
        <a:p>
          <a:endParaRPr lang="nb-NO"/>
        </a:p>
      </dgm:t>
    </dgm:pt>
    <dgm:pt modelId="{8B7C4C73-6687-447B-8EAD-D90394A9E6C9}">
      <dgm:prSet phldrT="[Text]"/>
      <dgm:spPr/>
      <dgm:t>
        <a:bodyPr/>
        <a:lstStyle/>
        <a:p>
          <a:r>
            <a:rPr lang="nb-NO"/>
            <a:t>WP1</a:t>
          </a:r>
        </a:p>
      </dgm:t>
    </dgm:pt>
    <dgm:pt modelId="{87132082-39E0-4D32-BB59-F415D75C5DA8}" type="parTrans" cxnId="{720F0E4B-618B-4C2E-91B2-3D222E842677}">
      <dgm:prSet/>
      <dgm:spPr/>
      <dgm:t>
        <a:bodyPr/>
        <a:lstStyle/>
        <a:p>
          <a:endParaRPr lang="nb-NO"/>
        </a:p>
      </dgm:t>
    </dgm:pt>
    <dgm:pt modelId="{01047AC3-D8DA-4BCF-8DF6-87C35206A95F}" type="sibTrans" cxnId="{720F0E4B-618B-4C2E-91B2-3D222E842677}">
      <dgm:prSet/>
      <dgm:spPr/>
      <dgm:t>
        <a:bodyPr/>
        <a:lstStyle/>
        <a:p>
          <a:endParaRPr lang="nb-NO"/>
        </a:p>
      </dgm:t>
    </dgm:pt>
    <dgm:pt modelId="{D5FD73B7-0B9D-4C27-8508-6398D37228B2}">
      <dgm:prSet phldrT="[Text]"/>
      <dgm:spPr/>
      <dgm:t>
        <a:bodyPr/>
        <a:lstStyle/>
        <a:p>
          <a:r>
            <a:rPr lang="nb-NO"/>
            <a:t>WP2</a:t>
          </a:r>
        </a:p>
      </dgm:t>
    </dgm:pt>
    <dgm:pt modelId="{FA151C5C-0DBC-41B0-B21F-00D23E5E57C8}" type="parTrans" cxnId="{0986F77D-CCAF-4E62-A7CA-A77342330025}">
      <dgm:prSet/>
      <dgm:spPr/>
      <dgm:t>
        <a:bodyPr/>
        <a:lstStyle/>
        <a:p>
          <a:endParaRPr lang="nb-NO"/>
        </a:p>
      </dgm:t>
    </dgm:pt>
    <dgm:pt modelId="{A6452CEB-BA4C-4398-8CED-378C69105C80}" type="sibTrans" cxnId="{0986F77D-CCAF-4E62-A7CA-A77342330025}">
      <dgm:prSet/>
      <dgm:spPr/>
      <dgm:t>
        <a:bodyPr/>
        <a:lstStyle/>
        <a:p>
          <a:endParaRPr lang="nb-NO"/>
        </a:p>
      </dgm:t>
    </dgm:pt>
    <dgm:pt modelId="{17301840-3C25-4C48-9B1E-0B527F7C6620}">
      <dgm:prSet phldrT="[Text]"/>
      <dgm:spPr/>
      <dgm:t>
        <a:bodyPr/>
        <a:lstStyle/>
        <a:p>
          <a:r>
            <a:rPr lang="nb-NO" err="1"/>
            <a:t>Exergaming</a:t>
          </a:r>
          <a:r>
            <a:rPr lang="nb-NO"/>
            <a:t> for </a:t>
          </a:r>
          <a:r>
            <a:rPr lang="nb-NO" err="1"/>
            <a:t>active</a:t>
          </a:r>
          <a:r>
            <a:rPr lang="nb-NO"/>
            <a:t> </a:t>
          </a:r>
          <a:r>
            <a:rPr lang="nb-NO" err="1"/>
            <a:t>aging</a:t>
          </a:r>
          <a:endParaRPr lang="nb-NO"/>
        </a:p>
      </dgm:t>
    </dgm:pt>
    <dgm:pt modelId="{E89406DB-6BA2-4199-9F2F-35836B10189D}" type="parTrans" cxnId="{89AA4893-0AC2-4070-8F02-7A26A3F7F542}">
      <dgm:prSet/>
      <dgm:spPr/>
      <dgm:t>
        <a:bodyPr/>
        <a:lstStyle/>
        <a:p>
          <a:endParaRPr lang="nb-NO"/>
        </a:p>
      </dgm:t>
    </dgm:pt>
    <dgm:pt modelId="{AC7937FC-0BDA-46FE-8D57-9E132C927F08}" type="sibTrans" cxnId="{89AA4893-0AC2-4070-8F02-7A26A3F7F542}">
      <dgm:prSet/>
      <dgm:spPr/>
      <dgm:t>
        <a:bodyPr/>
        <a:lstStyle/>
        <a:p>
          <a:endParaRPr lang="nb-NO"/>
        </a:p>
      </dgm:t>
    </dgm:pt>
    <dgm:pt modelId="{DD5DB054-6068-49F9-B927-B36701652B71}">
      <dgm:prSet phldrT="[Text]"/>
      <dgm:spPr/>
      <dgm:t>
        <a:bodyPr/>
        <a:lstStyle/>
        <a:p>
          <a:r>
            <a:rPr lang="nb-NO" err="1"/>
            <a:t>Exergaming</a:t>
          </a:r>
          <a:r>
            <a:rPr lang="nb-NO"/>
            <a:t> EU FP7</a:t>
          </a:r>
        </a:p>
      </dgm:t>
    </dgm:pt>
    <dgm:pt modelId="{57F18DAB-FCBC-4499-B9D6-78E2D4446305}" type="parTrans" cxnId="{9D319C39-A300-4BFD-9853-83D88567D8E1}">
      <dgm:prSet/>
      <dgm:spPr/>
      <dgm:t>
        <a:bodyPr/>
        <a:lstStyle/>
        <a:p>
          <a:endParaRPr lang="nb-NO"/>
        </a:p>
      </dgm:t>
    </dgm:pt>
    <dgm:pt modelId="{B9BD17BF-02D8-41DF-AD07-9045EA7710B3}" type="sibTrans" cxnId="{9D319C39-A300-4BFD-9853-83D88567D8E1}">
      <dgm:prSet/>
      <dgm:spPr/>
      <dgm:t>
        <a:bodyPr/>
        <a:lstStyle/>
        <a:p>
          <a:endParaRPr lang="nb-NO"/>
        </a:p>
      </dgm:t>
    </dgm:pt>
    <dgm:pt modelId="{EB42CA00-9262-44E8-AADD-B06E5EF0DBCA}" type="pres">
      <dgm:prSet presAssocID="{9083C0CA-3FB6-47D7-9DC2-E2C6C524134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7F244006-027F-47D1-985E-F9CC3A375B7B}" type="pres">
      <dgm:prSet presAssocID="{9083C0CA-3FB6-47D7-9DC2-E2C6C524134E}" presName="hierFlow" presStyleCnt="0"/>
      <dgm:spPr/>
    </dgm:pt>
    <dgm:pt modelId="{BE7FA140-75F1-468B-8E1C-C2EF74552FF4}" type="pres">
      <dgm:prSet presAssocID="{9083C0CA-3FB6-47D7-9DC2-E2C6C524134E}" presName="firstBuf" presStyleCnt="0"/>
      <dgm:spPr/>
    </dgm:pt>
    <dgm:pt modelId="{CEE6A8FF-2F9B-4400-A062-A4077AE000FA}" type="pres">
      <dgm:prSet presAssocID="{9083C0CA-3FB6-47D7-9DC2-E2C6C524134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0AECA72-C954-43BD-901A-CD5E00F536AD}" type="pres">
      <dgm:prSet presAssocID="{762EF590-160F-420F-9AE1-49883AA928AE}" presName="Name17" presStyleCnt="0"/>
      <dgm:spPr/>
    </dgm:pt>
    <dgm:pt modelId="{F91660F9-9DA9-4BCC-BFF0-439EB06AE054}" type="pres">
      <dgm:prSet presAssocID="{762EF590-160F-420F-9AE1-49883AA928AE}" presName="level1Shape" presStyleLbl="node0" presStyleIdx="0" presStyleCnt="1" custScaleY="346080">
        <dgm:presLayoutVars>
          <dgm:chPref val="3"/>
        </dgm:presLayoutVars>
      </dgm:prSet>
      <dgm:spPr/>
    </dgm:pt>
    <dgm:pt modelId="{2E5DF35B-15FC-48E8-8946-1C41EDDA5DD4}" type="pres">
      <dgm:prSet presAssocID="{762EF590-160F-420F-9AE1-49883AA928AE}" presName="hierChild2" presStyleCnt="0"/>
      <dgm:spPr/>
    </dgm:pt>
    <dgm:pt modelId="{C6498F3A-E144-4EA7-8583-38A843F262DC}" type="pres">
      <dgm:prSet presAssocID="{6F7D707B-F7A3-4832-BE20-1352AD79E0E2}" presName="Name25" presStyleLbl="parChTrans1D2" presStyleIdx="0" presStyleCnt="3"/>
      <dgm:spPr/>
    </dgm:pt>
    <dgm:pt modelId="{245EF6D8-6C8D-4151-9528-206752E7FFA9}" type="pres">
      <dgm:prSet presAssocID="{6F7D707B-F7A3-4832-BE20-1352AD79E0E2}" presName="connTx" presStyleLbl="parChTrans1D2" presStyleIdx="0" presStyleCnt="3"/>
      <dgm:spPr/>
    </dgm:pt>
    <dgm:pt modelId="{F0A850C1-0246-4FCD-BFCB-4C4618571A15}" type="pres">
      <dgm:prSet presAssocID="{C6C784A2-4A7D-43EF-8E3F-984CEF035ECE}" presName="Name30" presStyleCnt="0"/>
      <dgm:spPr/>
    </dgm:pt>
    <dgm:pt modelId="{9C373FCA-D79C-44D5-9300-9CFC761AA81C}" type="pres">
      <dgm:prSet presAssocID="{C6C784A2-4A7D-43EF-8E3F-984CEF035ECE}" presName="level2Shape" presStyleLbl="node2" presStyleIdx="0" presStyleCnt="3" custScaleY="176380"/>
      <dgm:spPr/>
    </dgm:pt>
    <dgm:pt modelId="{37311B4B-76CC-404A-A442-770C06213E2F}" type="pres">
      <dgm:prSet presAssocID="{C6C784A2-4A7D-43EF-8E3F-984CEF035ECE}" presName="hierChild3" presStyleCnt="0"/>
      <dgm:spPr/>
    </dgm:pt>
    <dgm:pt modelId="{2EFC976A-E189-42FD-A925-E7416E513E1E}" type="pres">
      <dgm:prSet presAssocID="{10C88997-CC8C-4B8C-9053-34A7042019AC}" presName="Name25" presStyleLbl="parChTrans1D3" presStyleIdx="0" presStyleCnt="4"/>
      <dgm:spPr/>
    </dgm:pt>
    <dgm:pt modelId="{A6B2D96E-6EE8-4A4F-B714-6C0D69619469}" type="pres">
      <dgm:prSet presAssocID="{10C88997-CC8C-4B8C-9053-34A7042019AC}" presName="connTx" presStyleLbl="parChTrans1D3" presStyleIdx="0" presStyleCnt="4"/>
      <dgm:spPr/>
    </dgm:pt>
    <dgm:pt modelId="{7A40B749-5034-4B2D-B247-6FFA187F86CD}" type="pres">
      <dgm:prSet presAssocID="{80A6B342-B8A7-47A3-B530-17718B3AAE25}" presName="Name30" presStyleCnt="0"/>
      <dgm:spPr/>
    </dgm:pt>
    <dgm:pt modelId="{1840529B-EB1A-49D8-A620-57054FC55365}" type="pres">
      <dgm:prSet presAssocID="{80A6B342-B8A7-47A3-B530-17718B3AAE25}" presName="level2Shape" presStyleLbl="node3" presStyleIdx="0" presStyleCnt="4"/>
      <dgm:spPr/>
    </dgm:pt>
    <dgm:pt modelId="{9955EA75-6B6E-4402-A2B6-DB8E7AF9E398}" type="pres">
      <dgm:prSet presAssocID="{80A6B342-B8A7-47A3-B530-17718B3AAE25}" presName="hierChild3" presStyleCnt="0"/>
      <dgm:spPr/>
    </dgm:pt>
    <dgm:pt modelId="{B5DE5F4C-4E3F-4757-9D9B-D92B8CBCB1D1}" type="pres">
      <dgm:prSet presAssocID="{AC4F6EAA-738D-43AF-BAEB-0AD9EC1FC858}" presName="Name25" presStyleLbl="parChTrans1D4" presStyleIdx="0" presStyleCnt="5"/>
      <dgm:spPr/>
    </dgm:pt>
    <dgm:pt modelId="{8AEB59F5-A27A-456F-BF44-FDC8C7CBEC68}" type="pres">
      <dgm:prSet presAssocID="{AC4F6EAA-738D-43AF-BAEB-0AD9EC1FC858}" presName="connTx" presStyleLbl="parChTrans1D4" presStyleIdx="0" presStyleCnt="5"/>
      <dgm:spPr/>
    </dgm:pt>
    <dgm:pt modelId="{6814AA66-9531-4FF3-992C-5DCB705AF926}" type="pres">
      <dgm:prSet presAssocID="{9520B4B4-2947-4A1D-A27E-B45600700ECC}" presName="Name30" presStyleCnt="0"/>
      <dgm:spPr/>
    </dgm:pt>
    <dgm:pt modelId="{A5B62940-8BF5-480D-AAC2-029B26C16C98}" type="pres">
      <dgm:prSet presAssocID="{9520B4B4-2947-4A1D-A27E-B45600700ECC}" presName="level2Shape" presStyleLbl="node4" presStyleIdx="0" presStyleCnt="5"/>
      <dgm:spPr/>
    </dgm:pt>
    <dgm:pt modelId="{F72FBE64-393E-4624-AD8C-1A9A7AF8CC6E}" type="pres">
      <dgm:prSet presAssocID="{9520B4B4-2947-4A1D-A27E-B45600700ECC}" presName="hierChild3" presStyleCnt="0"/>
      <dgm:spPr/>
    </dgm:pt>
    <dgm:pt modelId="{01A08821-9AAF-4562-B87B-1A54E677CDF0}" type="pres">
      <dgm:prSet presAssocID="{45A06BB2-8211-4402-98E7-A40644B4442B}" presName="Name25" presStyleLbl="parChTrans1D4" presStyleIdx="1" presStyleCnt="5"/>
      <dgm:spPr/>
    </dgm:pt>
    <dgm:pt modelId="{C0A196D2-B07A-4D20-A150-B2C94A87F79E}" type="pres">
      <dgm:prSet presAssocID="{45A06BB2-8211-4402-98E7-A40644B4442B}" presName="connTx" presStyleLbl="parChTrans1D4" presStyleIdx="1" presStyleCnt="5"/>
      <dgm:spPr/>
    </dgm:pt>
    <dgm:pt modelId="{113C5CA6-A700-497C-8A52-48A7C7CDD820}" type="pres">
      <dgm:prSet presAssocID="{80529097-2085-498F-BB8D-0B41E7DC0CB1}" presName="Name30" presStyleCnt="0"/>
      <dgm:spPr/>
    </dgm:pt>
    <dgm:pt modelId="{59F93108-6DBB-4166-8184-49AF43B15928}" type="pres">
      <dgm:prSet presAssocID="{80529097-2085-498F-BB8D-0B41E7DC0CB1}" presName="level2Shape" presStyleLbl="node4" presStyleIdx="1" presStyleCnt="5"/>
      <dgm:spPr/>
    </dgm:pt>
    <dgm:pt modelId="{EEAFE133-6948-4C6F-8231-79E6EBDD9ED3}" type="pres">
      <dgm:prSet presAssocID="{80529097-2085-498F-BB8D-0B41E7DC0CB1}" presName="hierChild3" presStyleCnt="0"/>
      <dgm:spPr/>
    </dgm:pt>
    <dgm:pt modelId="{7C4F2FFA-A89D-4D85-8425-9537B2337633}" type="pres">
      <dgm:prSet presAssocID="{21826128-BEE0-49F3-99A7-4DF3413A60CD}" presName="Name25" presStyleLbl="parChTrans1D4" presStyleIdx="2" presStyleCnt="5"/>
      <dgm:spPr/>
    </dgm:pt>
    <dgm:pt modelId="{B476407D-99CA-4F80-9642-BA5ED0D89D98}" type="pres">
      <dgm:prSet presAssocID="{21826128-BEE0-49F3-99A7-4DF3413A60CD}" presName="connTx" presStyleLbl="parChTrans1D4" presStyleIdx="2" presStyleCnt="5"/>
      <dgm:spPr/>
    </dgm:pt>
    <dgm:pt modelId="{8D9B375E-073B-4E67-8938-4B08067452A5}" type="pres">
      <dgm:prSet presAssocID="{D3A3D984-39A3-423C-A139-B7F39E3E0383}" presName="Name30" presStyleCnt="0"/>
      <dgm:spPr/>
    </dgm:pt>
    <dgm:pt modelId="{35EDD057-D0E6-4721-A13F-5474F1075904}" type="pres">
      <dgm:prSet presAssocID="{D3A3D984-39A3-423C-A139-B7F39E3E0383}" presName="level2Shape" presStyleLbl="node4" presStyleIdx="2" presStyleCnt="5"/>
      <dgm:spPr/>
    </dgm:pt>
    <dgm:pt modelId="{A00D8E38-F1C3-427B-AEC9-B91BCBFC2369}" type="pres">
      <dgm:prSet presAssocID="{D3A3D984-39A3-423C-A139-B7F39E3E0383}" presName="hierChild3" presStyleCnt="0"/>
      <dgm:spPr/>
    </dgm:pt>
    <dgm:pt modelId="{16069183-BA56-4ABB-A35C-1A9ACFCC121E}" type="pres">
      <dgm:prSet presAssocID="{A65B4E19-7F7C-4C62-B35B-D4DAE3E68C9D}" presName="Name25" presStyleLbl="parChTrans1D3" presStyleIdx="1" presStyleCnt="4"/>
      <dgm:spPr/>
    </dgm:pt>
    <dgm:pt modelId="{B73FAD14-B540-4837-A746-15F62D4C77AC}" type="pres">
      <dgm:prSet presAssocID="{A65B4E19-7F7C-4C62-B35B-D4DAE3E68C9D}" presName="connTx" presStyleLbl="parChTrans1D3" presStyleIdx="1" presStyleCnt="4"/>
      <dgm:spPr/>
    </dgm:pt>
    <dgm:pt modelId="{CF4ACF99-008F-4471-BF66-1C3925176A4C}" type="pres">
      <dgm:prSet presAssocID="{EF64ACB9-1F7A-4916-B4F0-BE435D3742E4}" presName="Name30" presStyleCnt="0"/>
      <dgm:spPr/>
    </dgm:pt>
    <dgm:pt modelId="{963C06EB-65B1-43EE-8802-EED0862D045B}" type="pres">
      <dgm:prSet presAssocID="{EF64ACB9-1F7A-4916-B4F0-BE435D3742E4}" presName="level2Shape" presStyleLbl="node3" presStyleIdx="1" presStyleCnt="4"/>
      <dgm:spPr/>
    </dgm:pt>
    <dgm:pt modelId="{82C8697E-2BB1-425F-8D19-6094B271E082}" type="pres">
      <dgm:prSet presAssocID="{EF64ACB9-1F7A-4916-B4F0-BE435D3742E4}" presName="hierChild3" presStyleCnt="0"/>
      <dgm:spPr/>
    </dgm:pt>
    <dgm:pt modelId="{7D2594EB-30C5-4A0B-8F2C-F2E26791F7A1}" type="pres">
      <dgm:prSet presAssocID="{8639AA8C-1C31-4664-8882-051BABFCB0CC}" presName="Name25" presStyleLbl="parChTrans1D2" presStyleIdx="1" presStyleCnt="3"/>
      <dgm:spPr/>
    </dgm:pt>
    <dgm:pt modelId="{C9D0DD3C-8492-48B7-AFEE-C38D9F957FD4}" type="pres">
      <dgm:prSet presAssocID="{8639AA8C-1C31-4664-8882-051BABFCB0CC}" presName="connTx" presStyleLbl="parChTrans1D2" presStyleIdx="1" presStyleCnt="3"/>
      <dgm:spPr/>
    </dgm:pt>
    <dgm:pt modelId="{54384C5B-E4AD-4771-83CA-EB7A8D18B623}" type="pres">
      <dgm:prSet presAssocID="{B767DE2B-E292-44DC-83CE-E777DCBC27A9}" presName="Name30" presStyleCnt="0"/>
      <dgm:spPr/>
    </dgm:pt>
    <dgm:pt modelId="{C5BCC7EC-A6F5-4627-BC6A-4BC838552146}" type="pres">
      <dgm:prSet presAssocID="{B767DE2B-E292-44DC-83CE-E777DCBC27A9}" presName="level2Shape" presStyleLbl="node2" presStyleIdx="1" presStyleCnt="3" custScaleY="240870"/>
      <dgm:spPr/>
    </dgm:pt>
    <dgm:pt modelId="{A06EC4D9-5BD4-4528-9E4F-C98D1AD806A4}" type="pres">
      <dgm:prSet presAssocID="{B767DE2B-E292-44DC-83CE-E777DCBC27A9}" presName="hierChild3" presStyleCnt="0"/>
      <dgm:spPr/>
    </dgm:pt>
    <dgm:pt modelId="{A156A696-0C1B-4F09-B916-BD5469990C82}" type="pres">
      <dgm:prSet presAssocID="{A5F253EE-3E89-4503-89B1-870630F1BD1F}" presName="Name25" presStyleLbl="parChTrans1D3" presStyleIdx="2" presStyleCnt="4"/>
      <dgm:spPr/>
    </dgm:pt>
    <dgm:pt modelId="{4BB7E337-7BD3-4BA9-BF71-7485A8FCE54F}" type="pres">
      <dgm:prSet presAssocID="{A5F253EE-3E89-4503-89B1-870630F1BD1F}" presName="connTx" presStyleLbl="parChTrans1D3" presStyleIdx="2" presStyleCnt="4"/>
      <dgm:spPr/>
    </dgm:pt>
    <dgm:pt modelId="{5D0360BF-C0AF-48FE-862A-008CEBB94267}" type="pres">
      <dgm:prSet presAssocID="{8A38C172-9915-4896-A26A-F89FE44C83B9}" presName="Name30" presStyleCnt="0"/>
      <dgm:spPr/>
    </dgm:pt>
    <dgm:pt modelId="{2F1721C2-F78B-46BD-9792-595200B3B00D}" type="pres">
      <dgm:prSet presAssocID="{8A38C172-9915-4896-A26A-F89FE44C83B9}" presName="level2Shape" presStyleLbl="node3" presStyleIdx="2" presStyleCnt="4"/>
      <dgm:spPr/>
    </dgm:pt>
    <dgm:pt modelId="{2DC4A343-78DE-4F15-BF8F-097A5CD56B39}" type="pres">
      <dgm:prSet presAssocID="{8A38C172-9915-4896-A26A-F89FE44C83B9}" presName="hierChild3" presStyleCnt="0"/>
      <dgm:spPr/>
    </dgm:pt>
    <dgm:pt modelId="{2EBD741D-113D-45AA-8319-AACC6861E0D4}" type="pres">
      <dgm:prSet presAssocID="{87132082-39E0-4D32-BB59-F415D75C5DA8}" presName="Name25" presStyleLbl="parChTrans1D4" presStyleIdx="3" presStyleCnt="5"/>
      <dgm:spPr/>
    </dgm:pt>
    <dgm:pt modelId="{B1568529-6795-45B9-BBEA-0FB2B872E9C8}" type="pres">
      <dgm:prSet presAssocID="{87132082-39E0-4D32-BB59-F415D75C5DA8}" presName="connTx" presStyleLbl="parChTrans1D4" presStyleIdx="3" presStyleCnt="5"/>
      <dgm:spPr/>
    </dgm:pt>
    <dgm:pt modelId="{003B1430-932E-408B-BA74-3653E1504FC3}" type="pres">
      <dgm:prSet presAssocID="{8B7C4C73-6687-447B-8EAD-D90394A9E6C9}" presName="Name30" presStyleCnt="0"/>
      <dgm:spPr/>
    </dgm:pt>
    <dgm:pt modelId="{78AF869F-0C39-4C67-B8A9-702E454BBDA0}" type="pres">
      <dgm:prSet presAssocID="{8B7C4C73-6687-447B-8EAD-D90394A9E6C9}" presName="level2Shape" presStyleLbl="node4" presStyleIdx="3" presStyleCnt="5"/>
      <dgm:spPr/>
    </dgm:pt>
    <dgm:pt modelId="{F869CDCB-5116-49C6-86F5-DFE8BF5E87AC}" type="pres">
      <dgm:prSet presAssocID="{8B7C4C73-6687-447B-8EAD-D90394A9E6C9}" presName="hierChild3" presStyleCnt="0"/>
      <dgm:spPr/>
    </dgm:pt>
    <dgm:pt modelId="{AABAAF17-BB44-4B19-9101-D4AD256CCD1E}" type="pres">
      <dgm:prSet presAssocID="{FA151C5C-0DBC-41B0-B21F-00D23E5E57C8}" presName="Name25" presStyleLbl="parChTrans1D4" presStyleIdx="4" presStyleCnt="5"/>
      <dgm:spPr/>
    </dgm:pt>
    <dgm:pt modelId="{B03111F4-B52F-419E-8B51-F44F1E5A5A6A}" type="pres">
      <dgm:prSet presAssocID="{FA151C5C-0DBC-41B0-B21F-00D23E5E57C8}" presName="connTx" presStyleLbl="parChTrans1D4" presStyleIdx="4" presStyleCnt="5"/>
      <dgm:spPr/>
    </dgm:pt>
    <dgm:pt modelId="{B4E984CB-A381-4541-85A8-E1E90A9FA478}" type="pres">
      <dgm:prSet presAssocID="{D5FD73B7-0B9D-4C27-8508-6398D37228B2}" presName="Name30" presStyleCnt="0"/>
      <dgm:spPr/>
    </dgm:pt>
    <dgm:pt modelId="{1E093CEC-59E8-4F75-9BE0-DAC937E232D7}" type="pres">
      <dgm:prSet presAssocID="{D5FD73B7-0B9D-4C27-8508-6398D37228B2}" presName="level2Shape" presStyleLbl="node4" presStyleIdx="4" presStyleCnt="5"/>
      <dgm:spPr/>
    </dgm:pt>
    <dgm:pt modelId="{F4EBCBED-7131-4213-A4B7-A318D335EA4B}" type="pres">
      <dgm:prSet presAssocID="{D5FD73B7-0B9D-4C27-8508-6398D37228B2}" presName="hierChild3" presStyleCnt="0"/>
      <dgm:spPr/>
    </dgm:pt>
    <dgm:pt modelId="{688300FA-DE9B-4E5E-B85E-940A1FB73DC4}" type="pres">
      <dgm:prSet presAssocID="{E89406DB-6BA2-4199-9F2F-35836B10189D}" presName="Name25" presStyleLbl="parChTrans1D2" presStyleIdx="2" presStyleCnt="3"/>
      <dgm:spPr/>
    </dgm:pt>
    <dgm:pt modelId="{66C70094-7755-4DB5-8E35-C8FBA92C6F30}" type="pres">
      <dgm:prSet presAssocID="{E89406DB-6BA2-4199-9F2F-35836B10189D}" presName="connTx" presStyleLbl="parChTrans1D2" presStyleIdx="2" presStyleCnt="3"/>
      <dgm:spPr/>
    </dgm:pt>
    <dgm:pt modelId="{481E0444-52A9-47CE-B810-8799D391A63E}" type="pres">
      <dgm:prSet presAssocID="{17301840-3C25-4C48-9B1E-0B527F7C6620}" presName="Name30" presStyleCnt="0"/>
      <dgm:spPr/>
    </dgm:pt>
    <dgm:pt modelId="{50C0B034-6B0F-480C-94D8-4BF748885748}" type="pres">
      <dgm:prSet presAssocID="{17301840-3C25-4C48-9B1E-0B527F7C6620}" presName="level2Shape" presStyleLbl="node2" presStyleIdx="2" presStyleCnt="3"/>
      <dgm:spPr/>
    </dgm:pt>
    <dgm:pt modelId="{ED58B549-436B-4498-8D8E-9BAE8112F271}" type="pres">
      <dgm:prSet presAssocID="{17301840-3C25-4C48-9B1E-0B527F7C6620}" presName="hierChild3" presStyleCnt="0"/>
      <dgm:spPr/>
    </dgm:pt>
    <dgm:pt modelId="{9DAFE529-4B14-4842-B3C9-AAFAA70061A1}" type="pres">
      <dgm:prSet presAssocID="{57F18DAB-FCBC-4499-B9D6-78E2D4446305}" presName="Name25" presStyleLbl="parChTrans1D3" presStyleIdx="3" presStyleCnt="4"/>
      <dgm:spPr/>
    </dgm:pt>
    <dgm:pt modelId="{A29CA13D-FDE6-4F91-943D-CE5A568AE5F6}" type="pres">
      <dgm:prSet presAssocID="{57F18DAB-FCBC-4499-B9D6-78E2D4446305}" presName="connTx" presStyleLbl="parChTrans1D3" presStyleIdx="3" presStyleCnt="4"/>
      <dgm:spPr/>
    </dgm:pt>
    <dgm:pt modelId="{41D3A1AE-F375-4C0D-A843-783E4E86D0B4}" type="pres">
      <dgm:prSet presAssocID="{DD5DB054-6068-49F9-B927-B36701652B71}" presName="Name30" presStyleCnt="0"/>
      <dgm:spPr/>
    </dgm:pt>
    <dgm:pt modelId="{29A171E6-D0F5-4470-87A3-7E26241F201D}" type="pres">
      <dgm:prSet presAssocID="{DD5DB054-6068-49F9-B927-B36701652B71}" presName="level2Shape" presStyleLbl="node3" presStyleIdx="3" presStyleCnt="4"/>
      <dgm:spPr/>
    </dgm:pt>
    <dgm:pt modelId="{76FC3DA3-9359-4B60-B2FA-5190649364B0}" type="pres">
      <dgm:prSet presAssocID="{DD5DB054-6068-49F9-B927-B36701652B71}" presName="hierChild3" presStyleCnt="0"/>
      <dgm:spPr/>
    </dgm:pt>
    <dgm:pt modelId="{9262314E-B74D-488A-BDEB-7310280F9A07}" type="pres">
      <dgm:prSet presAssocID="{9083C0CA-3FB6-47D7-9DC2-E2C6C524134E}" presName="bgShapesFlow" presStyleCnt="0"/>
      <dgm:spPr/>
    </dgm:pt>
    <dgm:pt modelId="{88076520-6ECE-4B53-84C2-A2A868D49146}" type="pres">
      <dgm:prSet presAssocID="{36A70192-87D1-4539-BBC7-D48A2D0C89D9}" presName="rectComp" presStyleCnt="0"/>
      <dgm:spPr/>
    </dgm:pt>
    <dgm:pt modelId="{D1EC4036-C7E1-44E0-AEA0-98FFB3FE7BB1}" type="pres">
      <dgm:prSet presAssocID="{36A70192-87D1-4539-BBC7-D48A2D0C89D9}" presName="bgRect" presStyleLbl="bgShp" presStyleIdx="0" presStyleCnt="4"/>
      <dgm:spPr/>
    </dgm:pt>
    <dgm:pt modelId="{42A4B708-E792-4DCB-AF11-225DE7B0D727}" type="pres">
      <dgm:prSet presAssocID="{36A70192-87D1-4539-BBC7-D48A2D0C89D9}" presName="bgRectTx" presStyleLbl="bgShp" presStyleIdx="0" presStyleCnt="4">
        <dgm:presLayoutVars>
          <dgm:bulletEnabled val="1"/>
        </dgm:presLayoutVars>
      </dgm:prSet>
      <dgm:spPr/>
    </dgm:pt>
    <dgm:pt modelId="{E2D75C93-783D-41A6-AB62-D0815CA2316A}" type="pres">
      <dgm:prSet presAssocID="{36A70192-87D1-4539-BBC7-D48A2D0C89D9}" presName="spComp" presStyleCnt="0"/>
      <dgm:spPr/>
    </dgm:pt>
    <dgm:pt modelId="{B0616FCE-F5EF-4774-B31D-C177C83C0C58}" type="pres">
      <dgm:prSet presAssocID="{36A70192-87D1-4539-BBC7-D48A2D0C89D9}" presName="hSp" presStyleCnt="0"/>
      <dgm:spPr/>
    </dgm:pt>
    <dgm:pt modelId="{74AA7978-E32D-41A4-A96F-6D6B16578A88}" type="pres">
      <dgm:prSet presAssocID="{59CC6260-C883-4665-9988-77AE7AE67A81}" presName="rectComp" presStyleCnt="0"/>
      <dgm:spPr/>
    </dgm:pt>
    <dgm:pt modelId="{0D6F98C8-D1DE-4457-98E2-40DDFABA23EA}" type="pres">
      <dgm:prSet presAssocID="{59CC6260-C883-4665-9988-77AE7AE67A81}" presName="bgRect" presStyleLbl="bgShp" presStyleIdx="1" presStyleCnt="4"/>
      <dgm:spPr/>
    </dgm:pt>
    <dgm:pt modelId="{CF33B9AF-8160-44F3-B1AB-1EE5DD83CE84}" type="pres">
      <dgm:prSet presAssocID="{59CC6260-C883-4665-9988-77AE7AE67A81}" presName="bgRectTx" presStyleLbl="bgShp" presStyleIdx="1" presStyleCnt="4">
        <dgm:presLayoutVars>
          <dgm:bulletEnabled val="1"/>
        </dgm:presLayoutVars>
      </dgm:prSet>
      <dgm:spPr/>
    </dgm:pt>
    <dgm:pt modelId="{5F43C73E-33FC-4930-8E01-3E9591634810}" type="pres">
      <dgm:prSet presAssocID="{59CC6260-C883-4665-9988-77AE7AE67A81}" presName="spComp" presStyleCnt="0"/>
      <dgm:spPr/>
    </dgm:pt>
    <dgm:pt modelId="{E622DE46-3EAD-4FDB-91C2-CF945C261B12}" type="pres">
      <dgm:prSet presAssocID="{59CC6260-C883-4665-9988-77AE7AE67A81}" presName="hSp" presStyleCnt="0"/>
      <dgm:spPr/>
    </dgm:pt>
    <dgm:pt modelId="{14E30126-8FD5-4CF3-8B05-70F7A1227F68}" type="pres">
      <dgm:prSet presAssocID="{AD75AA9B-61F9-4782-9667-2016054E002F}" presName="rectComp" presStyleCnt="0"/>
      <dgm:spPr/>
    </dgm:pt>
    <dgm:pt modelId="{21241AFA-FCEE-4A6D-A14B-247E170E9E6D}" type="pres">
      <dgm:prSet presAssocID="{AD75AA9B-61F9-4782-9667-2016054E002F}" presName="bgRect" presStyleLbl="bgShp" presStyleIdx="2" presStyleCnt="4"/>
      <dgm:spPr/>
    </dgm:pt>
    <dgm:pt modelId="{CEF2B53F-F02F-4C5F-8AE7-07E4DFB6D25C}" type="pres">
      <dgm:prSet presAssocID="{AD75AA9B-61F9-4782-9667-2016054E002F}" presName="bgRectTx" presStyleLbl="bgShp" presStyleIdx="2" presStyleCnt="4">
        <dgm:presLayoutVars>
          <dgm:bulletEnabled val="1"/>
        </dgm:presLayoutVars>
      </dgm:prSet>
      <dgm:spPr/>
    </dgm:pt>
    <dgm:pt modelId="{1345F2B9-FBF8-4826-A674-00CA2C3F8369}" type="pres">
      <dgm:prSet presAssocID="{AD75AA9B-61F9-4782-9667-2016054E002F}" presName="spComp" presStyleCnt="0"/>
      <dgm:spPr/>
    </dgm:pt>
    <dgm:pt modelId="{3FC3BBEE-C06C-4B77-867D-A75AD5D88B67}" type="pres">
      <dgm:prSet presAssocID="{AD75AA9B-61F9-4782-9667-2016054E002F}" presName="hSp" presStyleCnt="0"/>
      <dgm:spPr/>
    </dgm:pt>
    <dgm:pt modelId="{9246E46E-4A3C-4BD4-9050-008983002D00}" type="pres">
      <dgm:prSet presAssocID="{4D801C41-E2EC-4903-BB40-585239280C9B}" presName="rectComp" presStyleCnt="0"/>
      <dgm:spPr/>
    </dgm:pt>
    <dgm:pt modelId="{4A25EE1B-E91C-4724-B4AB-1F97ED02D5AA}" type="pres">
      <dgm:prSet presAssocID="{4D801C41-E2EC-4903-BB40-585239280C9B}" presName="bgRect" presStyleLbl="bgShp" presStyleIdx="3" presStyleCnt="4"/>
      <dgm:spPr/>
    </dgm:pt>
    <dgm:pt modelId="{89C59674-22CC-4158-BFF0-70CF6825ABD0}" type="pres">
      <dgm:prSet presAssocID="{4D801C41-E2EC-4903-BB40-585239280C9B}" presName="bgRectTx" presStyleLbl="bgShp" presStyleIdx="3" presStyleCnt="4">
        <dgm:presLayoutVars>
          <dgm:bulletEnabled val="1"/>
        </dgm:presLayoutVars>
      </dgm:prSet>
      <dgm:spPr/>
    </dgm:pt>
  </dgm:ptLst>
  <dgm:cxnLst>
    <dgm:cxn modelId="{035E3100-9077-4EBC-8B27-69B25EE81E02}" type="presOf" srcId="{762EF590-160F-420F-9AE1-49883AA928AE}" destId="{F91660F9-9DA9-4BCC-BFF0-439EB06AE054}" srcOrd="0" destOrd="0" presId="urn:microsoft.com/office/officeart/2005/8/layout/hierarchy5"/>
    <dgm:cxn modelId="{B4512112-135B-49AA-A950-81DB1427904E}" type="presOf" srcId="{A65B4E19-7F7C-4C62-B35B-D4DAE3E68C9D}" destId="{16069183-BA56-4ABB-A35C-1A9ACFCC121E}" srcOrd="0" destOrd="0" presId="urn:microsoft.com/office/officeart/2005/8/layout/hierarchy5"/>
    <dgm:cxn modelId="{E790F516-2A17-44A7-9655-D0606A3E9D48}" type="presOf" srcId="{FA151C5C-0DBC-41B0-B21F-00D23E5E57C8}" destId="{AABAAF17-BB44-4B19-9101-D4AD256CCD1E}" srcOrd="0" destOrd="0" presId="urn:microsoft.com/office/officeart/2005/8/layout/hierarchy5"/>
    <dgm:cxn modelId="{95D6D318-4B8F-4B63-824E-C359A549C163}" type="presOf" srcId="{9520B4B4-2947-4A1D-A27E-B45600700ECC}" destId="{A5B62940-8BF5-480D-AAC2-029B26C16C98}" srcOrd="0" destOrd="0" presId="urn:microsoft.com/office/officeart/2005/8/layout/hierarchy5"/>
    <dgm:cxn modelId="{9B5D0519-382A-4054-9D86-F2C409F2FD45}" type="presOf" srcId="{10C88997-CC8C-4B8C-9053-34A7042019AC}" destId="{A6B2D96E-6EE8-4A4F-B714-6C0D69619469}" srcOrd="1" destOrd="0" presId="urn:microsoft.com/office/officeart/2005/8/layout/hierarchy5"/>
    <dgm:cxn modelId="{D545861D-0589-46C6-83C7-BAACAB6A0DE8}" type="presOf" srcId="{AD75AA9B-61F9-4782-9667-2016054E002F}" destId="{21241AFA-FCEE-4A6D-A14B-247E170E9E6D}" srcOrd="0" destOrd="0" presId="urn:microsoft.com/office/officeart/2005/8/layout/hierarchy5"/>
    <dgm:cxn modelId="{1BF7C81F-0971-413D-9770-C9FD60434F43}" srcId="{80A6B342-B8A7-47A3-B530-17718B3AAE25}" destId="{D3A3D984-39A3-423C-A139-B7F39E3E0383}" srcOrd="2" destOrd="0" parTransId="{21826128-BEE0-49F3-99A7-4DF3413A60CD}" sibTransId="{6CB36300-7D04-4BE3-B2E8-F71A18A842F3}"/>
    <dgm:cxn modelId="{3CAAB522-A29B-4D52-A043-F503AF3EA4C2}" type="presOf" srcId="{AC4F6EAA-738D-43AF-BAEB-0AD9EC1FC858}" destId="{B5DE5F4C-4E3F-4757-9D9B-D92B8CBCB1D1}" srcOrd="0" destOrd="0" presId="urn:microsoft.com/office/officeart/2005/8/layout/hierarchy5"/>
    <dgm:cxn modelId="{14DCB025-91B7-45C2-924D-6398794E29F9}" type="presOf" srcId="{9083C0CA-3FB6-47D7-9DC2-E2C6C524134E}" destId="{EB42CA00-9262-44E8-AADD-B06E5EF0DBCA}" srcOrd="0" destOrd="0" presId="urn:microsoft.com/office/officeart/2005/8/layout/hierarchy5"/>
    <dgm:cxn modelId="{8E685326-8694-46DD-AC77-30D07AEA4A1A}" type="presOf" srcId="{B767DE2B-E292-44DC-83CE-E777DCBC27A9}" destId="{C5BCC7EC-A6F5-4627-BC6A-4BC838552146}" srcOrd="0" destOrd="0" presId="urn:microsoft.com/office/officeart/2005/8/layout/hierarchy5"/>
    <dgm:cxn modelId="{4C806F28-281F-434E-9906-7DA656D589AA}" type="presOf" srcId="{E89406DB-6BA2-4199-9F2F-35836B10189D}" destId="{66C70094-7755-4DB5-8E35-C8FBA92C6F30}" srcOrd="1" destOrd="0" presId="urn:microsoft.com/office/officeart/2005/8/layout/hierarchy5"/>
    <dgm:cxn modelId="{ED4F322B-13E3-4807-A20F-5BB4972E0021}" type="presOf" srcId="{AC4F6EAA-738D-43AF-BAEB-0AD9EC1FC858}" destId="{8AEB59F5-A27A-456F-BF44-FDC8C7CBEC68}" srcOrd="1" destOrd="0" presId="urn:microsoft.com/office/officeart/2005/8/layout/hierarchy5"/>
    <dgm:cxn modelId="{432ABB2E-8E3C-452E-967C-3B9C07CEE6B8}" type="presOf" srcId="{36A70192-87D1-4539-BBC7-D48A2D0C89D9}" destId="{42A4B708-E792-4DCB-AF11-225DE7B0D727}" srcOrd="1" destOrd="0" presId="urn:microsoft.com/office/officeart/2005/8/layout/hierarchy5"/>
    <dgm:cxn modelId="{E70BA435-5FF2-4855-92D7-3B95E5032790}" type="presOf" srcId="{8639AA8C-1C31-4664-8882-051BABFCB0CC}" destId="{7D2594EB-30C5-4A0B-8F2C-F2E26791F7A1}" srcOrd="0" destOrd="0" presId="urn:microsoft.com/office/officeart/2005/8/layout/hierarchy5"/>
    <dgm:cxn modelId="{381C9F38-D0AC-47C7-8D6D-8724865F7DA2}" type="presOf" srcId="{80A6B342-B8A7-47A3-B530-17718B3AAE25}" destId="{1840529B-EB1A-49D8-A620-57054FC55365}" srcOrd="0" destOrd="0" presId="urn:microsoft.com/office/officeart/2005/8/layout/hierarchy5"/>
    <dgm:cxn modelId="{9D319C39-A300-4BFD-9853-83D88567D8E1}" srcId="{17301840-3C25-4C48-9B1E-0B527F7C6620}" destId="{DD5DB054-6068-49F9-B927-B36701652B71}" srcOrd="0" destOrd="0" parTransId="{57F18DAB-FCBC-4499-B9D6-78E2D4446305}" sibTransId="{B9BD17BF-02D8-41DF-AD07-9045EA7710B3}"/>
    <dgm:cxn modelId="{FDB11943-8E16-4C7A-BC32-8D48DCF6B3AD}" type="presOf" srcId="{87132082-39E0-4D32-BB59-F415D75C5DA8}" destId="{B1568529-6795-45B9-BBEA-0FB2B872E9C8}" srcOrd="1" destOrd="0" presId="urn:microsoft.com/office/officeart/2005/8/layout/hierarchy5"/>
    <dgm:cxn modelId="{0669BC6A-B239-4B08-A165-6D0602FAE636}" type="presOf" srcId="{8B7C4C73-6687-447B-8EAD-D90394A9E6C9}" destId="{78AF869F-0C39-4C67-B8A9-702E454BBDA0}" srcOrd="0" destOrd="0" presId="urn:microsoft.com/office/officeart/2005/8/layout/hierarchy5"/>
    <dgm:cxn modelId="{720F0E4B-618B-4C2E-91B2-3D222E842677}" srcId="{8A38C172-9915-4896-A26A-F89FE44C83B9}" destId="{8B7C4C73-6687-447B-8EAD-D90394A9E6C9}" srcOrd="0" destOrd="0" parTransId="{87132082-39E0-4D32-BB59-F415D75C5DA8}" sibTransId="{01047AC3-D8DA-4BCF-8DF6-87C35206A95F}"/>
    <dgm:cxn modelId="{B87EC370-9C65-4DFB-BB4D-119266E49B7F}" type="presOf" srcId="{A65B4E19-7F7C-4C62-B35B-D4DAE3E68C9D}" destId="{B73FAD14-B540-4837-A746-15F62D4C77AC}" srcOrd="1" destOrd="0" presId="urn:microsoft.com/office/officeart/2005/8/layout/hierarchy5"/>
    <dgm:cxn modelId="{2428E051-0BD9-428D-A825-1AE040DF9058}" type="presOf" srcId="{21826128-BEE0-49F3-99A7-4DF3413A60CD}" destId="{7C4F2FFA-A89D-4D85-8425-9537B2337633}" srcOrd="0" destOrd="0" presId="urn:microsoft.com/office/officeart/2005/8/layout/hierarchy5"/>
    <dgm:cxn modelId="{0AF0AA52-269F-4B8F-B242-DD43502DC574}" srcId="{C6C784A2-4A7D-43EF-8E3F-984CEF035ECE}" destId="{80A6B342-B8A7-47A3-B530-17718B3AAE25}" srcOrd="0" destOrd="0" parTransId="{10C88997-CC8C-4B8C-9053-34A7042019AC}" sibTransId="{B7CB029D-30ED-4C61-B4C5-6E860BFEA3A2}"/>
    <dgm:cxn modelId="{137AB672-27D2-4B58-BEA5-CC690607FFB7}" type="presOf" srcId="{DD5DB054-6068-49F9-B927-B36701652B71}" destId="{29A171E6-D0F5-4470-87A3-7E26241F201D}" srcOrd="0" destOrd="0" presId="urn:microsoft.com/office/officeart/2005/8/layout/hierarchy5"/>
    <dgm:cxn modelId="{E6C5FF72-46D3-473B-90B9-5200533E821F}" type="presOf" srcId="{E89406DB-6BA2-4199-9F2F-35836B10189D}" destId="{688300FA-DE9B-4E5E-B85E-940A1FB73DC4}" srcOrd="0" destOrd="0" presId="urn:microsoft.com/office/officeart/2005/8/layout/hierarchy5"/>
    <dgm:cxn modelId="{A23BC276-0167-41C0-A150-31EBAC807BF1}" type="presOf" srcId="{17301840-3C25-4C48-9B1E-0B527F7C6620}" destId="{50C0B034-6B0F-480C-94D8-4BF748885748}" srcOrd="0" destOrd="0" presId="urn:microsoft.com/office/officeart/2005/8/layout/hierarchy5"/>
    <dgm:cxn modelId="{FEA86379-92B6-4CAE-8A9C-4C357741ECA1}" type="presOf" srcId="{D5FD73B7-0B9D-4C27-8508-6398D37228B2}" destId="{1E093CEC-59E8-4F75-9BE0-DAC937E232D7}" srcOrd="0" destOrd="0" presId="urn:microsoft.com/office/officeart/2005/8/layout/hierarchy5"/>
    <dgm:cxn modelId="{B14E9A79-9D56-4603-BAE6-0958224DF47F}" srcId="{B767DE2B-E292-44DC-83CE-E777DCBC27A9}" destId="{8A38C172-9915-4896-A26A-F89FE44C83B9}" srcOrd="0" destOrd="0" parTransId="{A5F253EE-3E89-4503-89B1-870630F1BD1F}" sibTransId="{3361B378-021C-4F93-BEC5-1983A1225D3F}"/>
    <dgm:cxn modelId="{092B1F5A-985D-4AA7-9BC6-59215BAC8837}" srcId="{9083C0CA-3FB6-47D7-9DC2-E2C6C524134E}" destId="{59CC6260-C883-4665-9988-77AE7AE67A81}" srcOrd="2" destOrd="0" parTransId="{C0095768-6CF2-46EC-AE9D-0EF09AA26C46}" sibTransId="{3967ACEC-70FB-4BCE-8C80-58BCD7CE55D0}"/>
    <dgm:cxn modelId="{36293E7D-E3EC-43F6-9CAC-D3BEC4DEF779}" type="presOf" srcId="{6F7D707B-F7A3-4832-BE20-1352AD79E0E2}" destId="{C6498F3A-E144-4EA7-8583-38A843F262DC}" srcOrd="0" destOrd="0" presId="urn:microsoft.com/office/officeart/2005/8/layout/hierarchy5"/>
    <dgm:cxn modelId="{0986F77D-CCAF-4E62-A7CA-A77342330025}" srcId="{8A38C172-9915-4896-A26A-F89FE44C83B9}" destId="{D5FD73B7-0B9D-4C27-8508-6398D37228B2}" srcOrd="1" destOrd="0" parTransId="{FA151C5C-0DBC-41B0-B21F-00D23E5E57C8}" sibTransId="{A6452CEB-BA4C-4398-8CED-378C69105C80}"/>
    <dgm:cxn modelId="{935F6488-6BFF-4350-B848-275A0FDD6DD4}" type="presOf" srcId="{A5F253EE-3E89-4503-89B1-870630F1BD1F}" destId="{4BB7E337-7BD3-4BA9-BF71-7485A8FCE54F}" srcOrd="1" destOrd="0" presId="urn:microsoft.com/office/officeart/2005/8/layout/hierarchy5"/>
    <dgm:cxn modelId="{B3EFCF8D-8F7D-415F-A00F-9FD011AAD4ED}" type="presOf" srcId="{6F7D707B-F7A3-4832-BE20-1352AD79E0E2}" destId="{245EF6D8-6C8D-4151-9528-206752E7FFA9}" srcOrd="1" destOrd="0" presId="urn:microsoft.com/office/officeart/2005/8/layout/hierarchy5"/>
    <dgm:cxn modelId="{591ED492-C097-4DA9-ADBD-B34ECB1B47CF}" type="presOf" srcId="{8639AA8C-1C31-4664-8882-051BABFCB0CC}" destId="{C9D0DD3C-8492-48B7-AFEE-C38D9F957FD4}" srcOrd="1" destOrd="0" presId="urn:microsoft.com/office/officeart/2005/8/layout/hierarchy5"/>
    <dgm:cxn modelId="{89AA4893-0AC2-4070-8F02-7A26A3F7F542}" srcId="{762EF590-160F-420F-9AE1-49883AA928AE}" destId="{17301840-3C25-4C48-9B1E-0B527F7C6620}" srcOrd="2" destOrd="0" parTransId="{E89406DB-6BA2-4199-9F2F-35836B10189D}" sibTransId="{AC7937FC-0BDA-46FE-8D57-9E132C927F08}"/>
    <dgm:cxn modelId="{CB2A1194-B921-4F34-AF2D-A44A2AF01B98}" type="presOf" srcId="{AD75AA9B-61F9-4782-9667-2016054E002F}" destId="{CEF2B53F-F02F-4C5F-8AE7-07E4DFB6D25C}" srcOrd="1" destOrd="0" presId="urn:microsoft.com/office/officeart/2005/8/layout/hierarchy5"/>
    <dgm:cxn modelId="{72AE7994-AB3D-42FC-AF59-115B1FAF3776}" type="presOf" srcId="{45A06BB2-8211-4402-98E7-A40644B4442B}" destId="{01A08821-9AAF-4562-B87B-1A54E677CDF0}" srcOrd="0" destOrd="0" presId="urn:microsoft.com/office/officeart/2005/8/layout/hierarchy5"/>
    <dgm:cxn modelId="{80436D98-6966-4A8E-8588-20F23B994CB6}" type="presOf" srcId="{57F18DAB-FCBC-4499-B9D6-78E2D4446305}" destId="{9DAFE529-4B14-4842-B3C9-AAFAA70061A1}" srcOrd="0" destOrd="0" presId="urn:microsoft.com/office/officeart/2005/8/layout/hierarchy5"/>
    <dgm:cxn modelId="{1CF3699A-856D-4593-AB3E-9467D7B865BA}" type="presOf" srcId="{D3A3D984-39A3-423C-A139-B7F39E3E0383}" destId="{35EDD057-D0E6-4721-A13F-5474F1075904}" srcOrd="0" destOrd="0" presId="urn:microsoft.com/office/officeart/2005/8/layout/hierarchy5"/>
    <dgm:cxn modelId="{2C81549B-4DD0-4BF0-9B9C-892414C7E29E}" srcId="{80A6B342-B8A7-47A3-B530-17718B3AAE25}" destId="{9520B4B4-2947-4A1D-A27E-B45600700ECC}" srcOrd="0" destOrd="0" parTransId="{AC4F6EAA-738D-43AF-BAEB-0AD9EC1FC858}" sibTransId="{6AED8FDF-8460-447A-93FF-4FFAFC85DD5E}"/>
    <dgm:cxn modelId="{5F7AF99B-CBFC-4CE9-B67A-B5CC444E2512}" type="presOf" srcId="{45A06BB2-8211-4402-98E7-A40644B4442B}" destId="{C0A196D2-B07A-4D20-A150-B2C94A87F79E}" srcOrd="1" destOrd="0" presId="urn:microsoft.com/office/officeart/2005/8/layout/hierarchy5"/>
    <dgm:cxn modelId="{ECEC449C-B935-4756-88ED-9C4225E98EF2}" srcId="{9083C0CA-3FB6-47D7-9DC2-E2C6C524134E}" destId="{4D801C41-E2EC-4903-BB40-585239280C9B}" srcOrd="4" destOrd="0" parTransId="{7FED8FF8-9638-4BA6-BC77-3E08E886765D}" sibTransId="{1DBC3AC0-8429-4395-9959-10FBCA67C6FB}"/>
    <dgm:cxn modelId="{80C4B59F-98B1-4C41-96C2-4C09A05BFC2E}" type="presOf" srcId="{4D801C41-E2EC-4903-BB40-585239280C9B}" destId="{4A25EE1B-E91C-4724-B4AB-1F97ED02D5AA}" srcOrd="0" destOrd="0" presId="urn:microsoft.com/office/officeart/2005/8/layout/hierarchy5"/>
    <dgm:cxn modelId="{09999BA0-8A0E-472F-85ED-2BCE88638E4F}" type="presOf" srcId="{87132082-39E0-4D32-BB59-F415D75C5DA8}" destId="{2EBD741D-113D-45AA-8319-AACC6861E0D4}" srcOrd="0" destOrd="0" presId="urn:microsoft.com/office/officeart/2005/8/layout/hierarchy5"/>
    <dgm:cxn modelId="{3FF641A1-ECF5-483C-83AD-F9D968BE1C00}" type="presOf" srcId="{10C88997-CC8C-4B8C-9053-34A7042019AC}" destId="{2EFC976A-E189-42FD-A925-E7416E513E1E}" srcOrd="0" destOrd="0" presId="urn:microsoft.com/office/officeart/2005/8/layout/hierarchy5"/>
    <dgm:cxn modelId="{2858B2A3-D820-454E-BC29-7B3FF73B35DB}" type="presOf" srcId="{EF64ACB9-1F7A-4916-B4F0-BE435D3742E4}" destId="{963C06EB-65B1-43EE-8802-EED0862D045B}" srcOrd="0" destOrd="0" presId="urn:microsoft.com/office/officeart/2005/8/layout/hierarchy5"/>
    <dgm:cxn modelId="{52DE1FA7-6440-4792-9088-E8A0426448F5}" type="presOf" srcId="{80529097-2085-498F-BB8D-0B41E7DC0CB1}" destId="{59F93108-6DBB-4166-8184-49AF43B15928}" srcOrd="0" destOrd="0" presId="urn:microsoft.com/office/officeart/2005/8/layout/hierarchy5"/>
    <dgm:cxn modelId="{CA8B2BA9-0467-4AFF-A47D-CC575FB978DB}" type="presOf" srcId="{21826128-BEE0-49F3-99A7-4DF3413A60CD}" destId="{B476407D-99CA-4F80-9642-BA5ED0D89D98}" srcOrd="1" destOrd="0" presId="urn:microsoft.com/office/officeart/2005/8/layout/hierarchy5"/>
    <dgm:cxn modelId="{881ECFAD-2EA4-4858-984D-79ACF6CEC344}" srcId="{762EF590-160F-420F-9AE1-49883AA928AE}" destId="{B767DE2B-E292-44DC-83CE-E777DCBC27A9}" srcOrd="1" destOrd="0" parTransId="{8639AA8C-1C31-4664-8882-051BABFCB0CC}" sibTransId="{787D14D5-CA57-4913-8AB8-9139D263D5BE}"/>
    <dgm:cxn modelId="{EA5452B1-BE39-41D1-BA36-AC7D20E5C586}" type="presOf" srcId="{59CC6260-C883-4665-9988-77AE7AE67A81}" destId="{CF33B9AF-8160-44F3-B1AB-1EE5DD83CE84}" srcOrd="1" destOrd="0" presId="urn:microsoft.com/office/officeart/2005/8/layout/hierarchy5"/>
    <dgm:cxn modelId="{F2B1FCB4-4716-46AC-B966-A89E82170800}" srcId="{9083C0CA-3FB6-47D7-9DC2-E2C6C524134E}" destId="{AD75AA9B-61F9-4782-9667-2016054E002F}" srcOrd="3" destOrd="0" parTransId="{DE4AF088-E188-4841-8D66-9F8D3127C0D0}" sibTransId="{D8ECF68D-41C1-4481-BA71-51DF3CBA8583}"/>
    <dgm:cxn modelId="{594868BB-99FA-4064-AA05-AE49D01D6A93}" type="presOf" srcId="{57F18DAB-FCBC-4499-B9D6-78E2D4446305}" destId="{A29CA13D-FDE6-4F91-943D-CE5A568AE5F6}" srcOrd="1" destOrd="0" presId="urn:microsoft.com/office/officeart/2005/8/layout/hierarchy5"/>
    <dgm:cxn modelId="{D4FF17BD-B1C3-45E1-A7DF-C46774CFAD99}" type="presOf" srcId="{8A38C172-9915-4896-A26A-F89FE44C83B9}" destId="{2F1721C2-F78B-46BD-9792-595200B3B00D}" srcOrd="0" destOrd="0" presId="urn:microsoft.com/office/officeart/2005/8/layout/hierarchy5"/>
    <dgm:cxn modelId="{D61FA9C0-195C-4D60-8D13-49229AAFB710}" type="presOf" srcId="{A5F253EE-3E89-4503-89B1-870630F1BD1F}" destId="{A156A696-0C1B-4F09-B916-BD5469990C82}" srcOrd="0" destOrd="0" presId="urn:microsoft.com/office/officeart/2005/8/layout/hierarchy5"/>
    <dgm:cxn modelId="{F4D63BC3-513A-4C28-BDA1-96CEA16B4165}" srcId="{762EF590-160F-420F-9AE1-49883AA928AE}" destId="{C6C784A2-4A7D-43EF-8E3F-984CEF035ECE}" srcOrd="0" destOrd="0" parTransId="{6F7D707B-F7A3-4832-BE20-1352AD79E0E2}" sibTransId="{8D83A46D-5D2D-4FF3-A4B6-B34629373978}"/>
    <dgm:cxn modelId="{986DE9CB-9D4A-4266-8B2D-D71D76F19E1D}" type="presOf" srcId="{4D801C41-E2EC-4903-BB40-585239280C9B}" destId="{89C59674-22CC-4158-BFF0-70CF6825ABD0}" srcOrd="1" destOrd="0" presId="urn:microsoft.com/office/officeart/2005/8/layout/hierarchy5"/>
    <dgm:cxn modelId="{FFB52BD3-7F04-461B-B73C-F88EB19B7E17}" srcId="{80A6B342-B8A7-47A3-B530-17718B3AAE25}" destId="{80529097-2085-498F-BB8D-0B41E7DC0CB1}" srcOrd="1" destOrd="0" parTransId="{45A06BB2-8211-4402-98E7-A40644B4442B}" sibTransId="{DDDEBDE5-B6B8-4376-81B6-63DFA9A7A462}"/>
    <dgm:cxn modelId="{F9802FD8-20FF-433D-87C2-8862BDA05BCF}" type="presOf" srcId="{C6C784A2-4A7D-43EF-8E3F-984CEF035ECE}" destId="{9C373FCA-D79C-44D5-9300-9CFC761AA81C}" srcOrd="0" destOrd="0" presId="urn:microsoft.com/office/officeart/2005/8/layout/hierarchy5"/>
    <dgm:cxn modelId="{EB7B07DD-A6A6-458C-B104-1DF185E0F310}" type="presOf" srcId="{FA151C5C-0DBC-41B0-B21F-00D23E5E57C8}" destId="{B03111F4-B52F-419E-8B51-F44F1E5A5A6A}" srcOrd="1" destOrd="0" presId="urn:microsoft.com/office/officeart/2005/8/layout/hierarchy5"/>
    <dgm:cxn modelId="{65E566E5-75EF-4D84-B6F2-9B9C8BB7BFB3}" srcId="{9083C0CA-3FB6-47D7-9DC2-E2C6C524134E}" destId="{36A70192-87D1-4539-BBC7-D48A2D0C89D9}" srcOrd="1" destOrd="0" parTransId="{202BE64C-E5A6-4383-BFB2-9BA6F4438CCC}" sibTransId="{020F2221-9E53-437F-A3B4-F5C2E82D79C8}"/>
    <dgm:cxn modelId="{50E74FEC-F86F-402F-BADF-202D39D696A1}" type="presOf" srcId="{36A70192-87D1-4539-BBC7-D48A2D0C89D9}" destId="{D1EC4036-C7E1-44E0-AEA0-98FFB3FE7BB1}" srcOrd="0" destOrd="0" presId="urn:microsoft.com/office/officeart/2005/8/layout/hierarchy5"/>
    <dgm:cxn modelId="{23FA01EF-83AB-400D-BE02-4BEBE917F310}" type="presOf" srcId="{59CC6260-C883-4665-9988-77AE7AE67A81}" destId="{0D6F98C8-D1DE-4457-98E2-40DDFABA23EA}" srcOrd="0" destOrd="0" presId="urn:microsoft.com/office/officeart/2005/8/layout/hierarchy5"/>
    <dgm:cxn modelId="{A66EE9FA-AA4D-4D47-BB77-2EACB11BC450}" srcId="{9083C0CA-3FB6-47D7-9DC2-E2C6C524134E}" destId="{762EF590-160F-420F-9AE1-49883AA928AE}" srcOrd="0" destOrd="0" parTransId="{01162254-2848-468D-9D3F-B3E1D82D3659}" sibTransId="{BAF6B390-E4A5-4905-9963-E10E9D044758}"/>
    <dgm:cxn modelId="{118B3EFF-5AC3-43FC-BDDE-88A25025E51C}" srcId="{C6C784A2-4A7D-43EF-8E3F-984CEF035ECE}" destId="{EF64ACB9-1F7A-4916-B4F0-BE435D3742E4}" srcOrd="1" destOrd="0" parTransId="{A65B4E19-7F7C-4C62-B35B-D4DAE3E68C9D}" sibTransId="{1B521E7D-1B57-4291-BA29-03511A0F757D}"/>
    <dgm:cxn modelId="{69B60999-3DFA-4C76-9D29-0F276B37CBE0}" type="presParOf" srcId="{EB42CA00-9262-44E8-AADD-B06E5EF0DBCA}" destId="{7F244006-027F-47D1-985E-F9CC3A375B7B}" srcOrd="0" destOrd="0" presId="urn:microsoft.com/office/officeart/2005/8/layout/hierarchy5"/>
    <dgm:cxn modelId="{7A086D87-80A6-402C-B885-C158FB071EE4}" type="presParOf" srcId="{7F244006-027F-47D1-985E-F9CC3A375B7B}" destId="{BE7FA140-75F1-468B-8E1C-C2EF74552FF4}" srcOrd="0" destOrd="0" presId="urn:microsoft.com/office/officeart/2005/8/layout/hierarchy5"/>
    <dgm:cxn modelId="{745A4C33-5462-4A0B-A0AE-EBACD5CBDECA}" type="presParOf" srcId="{7F244006-027F-47D1-985E-F9CC3A375B7B}" destId="{CEE6A8FF-2F9B-4400-A062-A4077AE000FA}" srcOrd="1" destOrd="0" presId="urn:microsoft.com/office/officeart/2005/8/layout/hierarchy5"/>
    <dgm:cxn modelId="{2765D4D4-7536-4A9E-97FF-896ECAE6CEEB}" type="presParOf" srcId="{CEE6A8FF-2F9B-4400-A062-A4077AE000FA}" destId="{80AECA72-C954-43BD-901A-CD5E00F536AD}" srcOrd="0" destOrd="0" presId="urn:microsoft.com/office/officeart/2005/8/layout/hierarchy5"/>
    <dgm:cxn modelId="{8F5818C3-BCA1-424F-B882-B37AFC8F3CDE}" type="presParOf" srcId="{80AECA72-C954-43BD-901A-CD5E00F536AD}" destId="{F91660F9-9DA9-4BCC-BFF0-439EB06AE054}" srcOrd="0" destOrd="0" presId="urn:microsoft.com/office/officeart/2005/8/layout/hierarchy5"/>
    <dgm:cxn modelId="{F2CC3F21-FE20-4447-A349-FEA912FC5BF9}" type="presParOf" srcId="{80AECA72-C954-43BD-901A-CD5E00F536AD}" destId="{2E5DF35B-15FC-48E8-8946-1C41EDDA5DD4}" srcOrd="1" destOrd="0" presId="urn:microsoft.com/office/officeart/2005/8/layout/hierarchy5"/>
    <dgm:cxn modelId="{742FDFFC-C473-48EF-9877-0E2E5BB9FA28}" type="presParOf" srcId="{2E5DF35B-15FC-48E8-8946-1C41EDDA5DD4}" destId="{C6498F3A-E144-4EA7-8583-38A843F262DC}" srcOrd="0" destOrd="0" presId="urn:microsoft.com/office/officeart/2005/8/layout/hierarchy5"/>
    <dgm:cxn modelId="{6B174AED-D3EF-47D2-BA76-D4C632434283}" type="presParOf" srcId="{C6498F3A-E144-4EA7-8583-38A843F262DC}" destId="{245EF6D8-6C8D-4151-9528-206752E7FFA9}" srcOrd="0" destOrd="0" presId="urn:microsoft.com/office/officeart/2005/8/layout/hierarchy5"/>
    <dgm:cxn modelId="{31696796-FC51-4264-9A37-348505705837}" type="presParOf" srcId="{2E5DF35B-15FC-48E8-8946-1C41EDDA5DD4}" destId="{F0A850C1-0246-4FCD-BFCB-4C4618571A15}" srcOrd="1" destOrd="0" presId="urn:microsoft.com/office/officeart/2005/8/layout/hierarchy5"/>
    <dgm:cxn modelId="{E9A5BFB0-D45E-4A56-BB10-FC5C2580F109}" type="presParOf" srcId="{F0A850C1-0246-4FCD-BFCB-4C4618571A15}" destId="{9C373FCA-D79C-44D5-9300-9CFC761AA81C}" srcOrd="0" destOrd="0" presId="urn:microsoft.com/office/officeart/2005/8/layout/hierarchy5"/>
    <dgm:cxn modelId="{BF6F266B-D0CE-41D5-8F6A-D597ABD42D22}" type="presParOf" srcId="{F0A850C1-0246-4FCD-BFCB-4C4618571A15}" destId="{37311B4B-76CC-404A-A442-770C06213E2F}" srcOrd="1" destOrd="0" presId="urn:microsoft.com/office/officeart/2005/8/layout/hierarchy5"/>
    <dgm:cxn modelId="{DA01BA55-EC15-4A57-99E7-4F691EE0690A}" type="presParOf" srcId="{37311B4B-76CC-404A-A442-770C06213E2F}" destId="{2EFC976A-E189-42FD-A925-E7416E513E1E}" srcOrd="0" destOrd="0" presId="urn:microsoft.com/office/officeart/2005/8/layout/hierarchy5"/>
    <dgm:cxn modelId="{D4DA2AD0-7310-437E-8298-F28848C30CFE}" type="presParOf" srcId="{2EFC976A-E189-42FD-A925-E7416E513E1E}" destId="{A6B2D96E-6EE8-4A4F-B714-6C0D69619469}" srcOrd="0" destOrd="0" presId="urn:microsoft.com/office/officeart/2005/8/layout/hierarchy5"/>
    <dgm:cxn modelId="{7A6D20C0-0363-4BA2-B399-DF04CDF5D46D}" type="presParOf" srcId="{37311B4B-76CC-404A-A442-770C06213E2F}" destId="{7A40B749-5034-4B2D-B247-6FFA187F86CD}" srcOrd="1" destOrd="0" presId="urn:microsoft.com/office/officeart/2005/8/layout/hierarchy5"/>
    <dgm:cxn modelId="{E6DF60BB-EDE9-4D45-8ED0-B4D1D042A8B6}" type="presParOf" srcId="{7A40B749-5034-4B2D-B247-6FFA187F86CD}" destId="{1840529B-EB1A-49D8-A620-57054FC55365}" srcOrd="0" destOrd="0" presId="urn:microsoft.com/office/officeart/2005/8/layout/hierarchy5"/>
    <dgm:cxn modelId="{E4F637F3-193D-4208-95D9-87EE62F23541}" type="presParOf" srcId="{7A40B749-5034-4B2D-B247-6FFA187F86CD}" destId="{9955EA75-6B6E-4402-A2B6-DB8E7AF9E398}" srcOrd="1" destOrd="0" presId="urn:microsoft.com/office/officeart/2005/8/layout/hierarchy5"/>
    <dgm:cxn modelId="{CF5DF3F4-7FD6-41D2-AD88-F5E4BBA72CBB}" type="presParOf" srcId="{9955EA75-6B6E-4402-A2B6-DB8E7AF9E398}" destId="{B5DE5F4C-4E3F-4757-9D9B-D92B8CBCB1D1}" srcOrd="0" destOrd="0" presId="urn:microsoft.com/office/officeart/2005/8/layout/hierarchy5"/>
    <dgm:cxn modelId="{D566EA4B-9B56-4B7D-AF64-F7E79419E423}" type="presParOf" srcId="{B5DE5F4C-4E3F-4757-9D9B-D92B8CBCB1D1}" destId="{8AEB59F5-A27A-456F-BF44-FDC8C7CBEC68}" srcOrd="0" destOrd="0" presId="urn:microsoft.com/office/officeart/2005/8/layout/hierarchy5"/>
    <dgm:cxn modelId="{E2DB6261-D8D3-42BC-8CA8-1BCBDEF47C9D}" type="presParOf" srcId="{9955EA75-6B6E-4402-A2B6-DB8E7AF9E398}" destId="{6814AA66-9531-4FF3-992C-5DCB705AF926}" srcOrd="1" destOrd="0" presId="urn:microsoft.com/office/officeart/2005/8/layout/hierarchy5"/>
    <dgm:cxn modelId="{7FE791B3-B08E-439A-B056-D9DE87A3F6BE}" type="presParOf" srcId="{6814AA66-9531-4FF3-992C-5DCB705AF926}" destId="{A5B62940-8BF5-480D-AAC2-029B26C16C98}" srcOrd="0" destOrd="0" presId="urn:microsoft.com/office/officeart/2005/8/layout/hierarchy5"/>
    <dgm:cxn modelId="{549A1DD3-0732-4E8A-9BF6-D9D5AABB662C}" type="presParOf" srcId="{6814AA66-9531-4FF3-992C-5DCB705AF926}" destId="{F72FBE64-393E-4624-AD8C-1A9A7AF8CC6E}" srcOrd="1" destOrd="0" presId="urn:microsoft.com/office/officeart/2005/8/layout/hierarchy5"/>
    <dgm:cxn modelId="{BE691673-3EAD-4AC4-B20A-E9465EDB2BF9}" type="presParOf" srcId="{9955EA75-6B6E-4402-A2B6-DB8E7AF9E398}" destId="{01A08821-9AAF-4562-B87B-1A54E677CDF0}" srcOrd="2" destOrd="0" presId="urn:microsoft.com/office/officeart/2005/8/layout/hierarchy5"/>
    <dgm:cxn modelId="{C7D3F2E5-0457-4395-9F16-D8140CCE02D8}" type="presParOf" srcId="{01A08821-9AAF-4562-B87B-1A54E677CDF0}" destId="{C0A196D2-B07A-4D20-A150-B2C94A87F79E}" srcOrd="0" destOrd="0" presId="urn:microsoft.com/office/officeart/2005/8/layout/hierarchy5"/>
    <dgm:cxn modelId="{2E002F55-1609-4D57-830F-C08360784BBC}" type="presParOf" srcId="{9955EA75-6B6E-4402-A2B6-DB8E7AF9E398}" destId="{113C5CA6-A700-497C-8A52-48A7C7CDD820}" srcOrd="3" destOrd="0" presId="urn:microsoft.com/office/officeart/2005/8/layout/hierarchy5"/>
    <dgm:cxn modelId="{9E67B78C-8E0D-4D8E-86C6-F91C71B0B0FD}" type="presParOf" srcId="{113C5CA6-A700-497C-8A52-48A7C7CDD820}" destId="{59F93108-6DBB-4166-8184-49AF43B15928}" srcOrd="0" destOrd="0" presId="urn:microsoft.com/office/officeart/2005/8/layout/hierarchy5"/>
    <dgm:cxn modelId="{D6984C6B-6514-4AA3-B4BC-A714F45FC172}" type="presParOf" srcId="{113C5CA6-A700-497C-8A52-48A7C7CDD820}" destId="{EEAFE133-6948-4C6F-8231-79E6EBDD9ED3}" srcOrd="1" destOrd="0" presId="urn:microsoft.com/office/officeart/2005/8/layout/hierarchy5"/>
    <dgm:cxn modelId="{48806586-C64C-4547-B307-E8FD5017E505}" type="presParOf" srcId="{9955EA75-6B6E-4402-A2B6-DB8E7AF9E398}" destId="{7C4F2FFA-A89D-4D85-8425-9537B2337633}" srcOrd="4" destOrd="0" presId="urn:microsoft.com/office/officeart/2005/8/layout/hierarchy5"/>
    <dgm:cxn modelId="{0010017C-292C-4A30-A8E8-5249C151B7CB}" type="presParOf" srcId="{7C4F2FFA-A89D-4D85-8425-9537B2337633}" destId="{B476407D-99CA-4F80-9642-BA5ED0D89D98}" srcOrd="0" destOrd="0" presId="urn:microsoft.com/office/officeart/2005/8/layout/hierarchy5"/>
    <dgm:cxn modelId="{0284647F-A09E-4F89-8704-0814CAB35C16}" type="presParOf" srcId="{9955EA75-6B6E-4402-A2B6-DB8E7AF9E398}" destId="{8D9B375E-073B-4E67-8938-4B08067452A5}" srcOrd="5" destOrd="0" presId="urn:microsoft.com/office/officeart/2005/8/layout/hierarchy5"/>
    <dgm:cxn modelId="{EA975ACA-7194-43E7-BAEE-D94739D24387}" type="presParOf" srcId="{8D9B375E-073B-4E67-8938-4B08067452A5}" destId="{35EDD057-D0E6-4721-A13F-5474F1075904}" srcOrd="0" destOrd="0" presId="urn:microsoft.com/office/officeart/2005/8/layout/hierarchy5"/>
    <dgm:cxn modelId="{B41DBDAB-4834-4148-9B4B-E29637BD24E8}" type="presParOf" srcId="{8D9B375E-073B-4E67-8938-4B08067452A5}" destId="{A00D8E38-F1C3-427B-AEC9-B91BCBFC2369}" srcOrd="1" destOrd="0" presId="urn:microsoft.com/office/officeart/2005/8/layout/hierarchy5"/>
    <dgm:cxn modelId="{37763738-FFAE-418C-A3A6-83122CC82CA6}" type="presParOf" srcId="{37311B4B-76CC-404A-A442-770C06213E2F}" destId="{16069183-BA56-4ABB-A35C-1A9ACFCC121E}" srcOrd="2" destOrd="0" presId="urn:microsoft.com/office/officeart/2005/8/layout/hierarchy5"/>
    <dgm:cxn modelId="{E3C79952-5417-4949-ACDA-2554EF194654}" type="presParOf" srcId="{16069183-BA56-4ABB-A35C-1A9ACFCC121E}" destId="{B73FAD14-B540-4837-A746-15F62D4C77AC}" srcOrd="0" destOrd="0" presId="urn:microsoft.com/office/officeart/2005/8/layout/hierarchy5"/>
    <dgm:cxn modelId="{ACE74928-1EA7-4453-848C-7B4AABF47F12}" type="presParOf" srcId="{37311B4B-76CC-404A-A442-770C06213E2F}" destId="{CF4ACF99-008F-4471-BF66-1C3925176A4C}" srcOrd="3" destOrd="0" presId="urn:microsoft.com/office/officeart/2005/8/layout/hierarchy5"/>
    <dgm:cxn modelId="{3E04C8B3-460E-4ECB-BEA1-B369902690B1}" type="presParOf" srcId="{CF4ACF99-008F-4471-BF66-1C3925176A4C}" destId="{963C06EB-65B1-43EE-8802-EED0862D045B}" srcOrd="0" destOrd="0" presId="urn:microsoft.com/office/officeart/2005/8/layout/hierarchy5"/>
    <dgm:cxn modelId="{10DFAED2-450D-4EF7-9AE9-8C67F56DA6DD}" type="presParOf" srcId="{CF4ACF99-008F-4471-BF66-1C3925176A4C}" destId="{82C8697E-2BB1-425F-8D19-6094B271E082}" srcOrd="1" destOrd="0" presId="urn:microsoft.com/office/officeart/2005/8/layout/hierarchy5"/>
    <dgm:cxn modelId="{BD7B17D7-555E-4FD5-93D7-54A79DE81826}" type="presParOf" srcId="{2E5DF35B-15FC-48E8-8946-1C41EDDA5DD4}" destId="{7D2594EB-30C5-4A0B-8F2C-F2E26791F7A1}" srcOrd="2" destOrd="0" presId="urn:microsoft.com/office/officeart/2005/8/layout/hierarchy5"/>
    <dgm:cxn modelId="{22ED6550-678C-4C21-8A86-940941BED779}" type="presParOf" srcId="{7D2594EB-30C5-4A0B-8F2C-F2E26791F7A1}" destId="{C9D0DD3C-8492-48B7-AFEE-C38D9F957FD4}" srcOrd="0" destOrd="0" presId="urn:microsoft.com/office/officeart/2005/8/layout/hierarchy5"/>
    <dgm:cxn modelId="{CDD34B96-87BD-49AF-B7F7-53853ED8F7B9}" type="presParOf" srcId="{2E5DF35B-15FC-48E8-8946-1C41EDDA5DD4}" destId="{54384C5B-E4AD-4771-83CA-EB7A8D18B623}" srcOrd="3" destOrd="0" presId="urn:microsoft.com/office/officeart/2005/8/layout/hierarchy5"/>
    <dgm:cxn modelId="{139538E4-A3D9-4D57-BE7A-16BB31AE6FA9}" type="presParOf" srcId="{54384C5B-E4AD-4771-83CA-EB7A8D18B623}" destId="{C5BCC7EC-A6F5-4627-BC6A-4BC838552146}" srcOrd="0" destOrd="0" presId="urn:microsoft.com/office/officeart/2005/8/layout/hierarchy5"/>
    <dgm:cxn modelId="{AA9839DE-5593-4C56-95F9-BA490999C31A}" type="presParOf" srcId="{54384C5B-E4AD-4771-83CA-EB7A8D18B623}" destId="{A06EC4D9-5BD4-4528-9E4F-C98D1AD806A4}" srcOrd="1" destOrd="0" presId="urn:microsoft.com/office/officeart/2005/8/layout/hierarchy5"/>
    <dgm:cxn modelId="{458C037A-6FB5-44AD-B28A-1A0F41B86D3F}" type="presParOf" srcId="{A06EC4D9-5BD4-4528-9E4F-C98D1AD806A4}" destId="{A156A696-0C1B-4F09-B916-BD5469990C82}" srcOrd="0" destOrd="0" presId="urn:microsoft.com/office/officeart/2005/8/layout/hierarchy5"/>
    <dgm:cxn modelId="{CC48C6DB-2546-4827-B95C-90FCC9AF1E6E}" type="presParOf" srcId="{A156A696-0C1B-4F09-B916-BD5469990C82}" destId="{4BB7E337-7BD3-4BA9-BF71-7485A8FCE54F}" srcOrd="0" destOrd="0" presId="urn:microsoft.com/office/officeart/2005/8/layout/hierarchy5"/>
    <dgm:cxn modelId="{92D7C2B3-D659-450A-9C32-1F0263555E80}" type="presParOf" srcId="{A06EC4D9-5BD4-4528-9E4F-C98D1AD806A4}" destId="{5D0360BF-C0AF-48FE-862A-008CEBB94267}" srcOrd="1" destOrd="0" presId="urn:microsoft.com/office/officeart/2005/8/layout/hierarchy5"/>
    <dgm:cxn modelId="{0942086D-D1E9-4F3F-BC26-07E3AA50D9F7}" type="presParOf" srcId="{5D0360BF-C0AF-48FE-862A-008CEBB94267}" destId="{2F1721C2-F78B-46BD-9792-595200B3B00D}" srcOrd="0" destOrd="0" presId="urn:microsoft.com/office/officeart/2005/8/layout/hierarchy5"/>
    <dgm:cxn modelId="{2EEA1193-AE12-4FBD-8A2D-AB120DF49316}" type="presParOf" srcId="{5D0360BF-C0AF-48FE-862A-008CEBB94267}" destId="{2DC4A343-78DE-4F15-BF8F-097A5CD56B39}" srcOrd="1" destOrd="0" presId="urn:microsoft.com/office/officeart/2005/8/layout/hierarchy5"/>
    <dgm:cxn modelId="{97914452-69DF-48D2-87EA-D5B743A77961}" type="presParOf" srcId="{2DC4A343-78DE-4F15-BF8F-097A5CD56B39}" destId="{2EBD741D-113D-45AA-8319-AACC6861E0D4}" srcOrd="0" destOrd="0" presId="urn:microsoft.com/office/officeart/2005/8/layout/hierarchy5"/>
    <dgm:cxn modelId="{EF1EDD21-8BFB-4095-B273-140B542B5E7E}" type="presParOf" srcId="{2EBD741D-113D-45AA-8319-AACC6861E0D4}" destId="{B1568529-6795-45B9-BBEA-0FB2B872E9C8}" srcOrd="0" destOrd="0" presId="urn:microsoft.com/office/officeart/2005/8/layout/hierarchy5"/>
    <dgm:cxn modelId="{2DDD7EC1-D99B-428C-8297-D57F51A6236F}" type="presParOf" srcId="{2DC4A343-78DE-4F15-BF8F-097A5CD56B39}" destId="{003B1430-932E-408B-BA74-3653E1504FC3}" srcOrd="1" destOrd="0" presId="urn:microsoft.com/office/officeart/2005/8/layout/hierarchy5"/>
    <dgm:cxn modelId="{E9FC5D74-CF96-42E7-8FA0-3C48CB1B0E7C}" type="presParOf" srcId="{003B1430-932E-408B-BA74-3653E1504FC3}" destId="{78AF869F-0C39-4C67-B8A9-702E454BBDA0}" srcOrd="0" destOrd="0" presId="urn:microsoft.com/office/officeart/2005/8/layout/hierarchy5"/>
    <dgm:cxn modelId="{8288C682-8C20-4205-AEDE-A3A913E5FB1F}" type="presParOf" srcId="{003B1430-932E-408B-BA74-3653E1504FC3}" destId="{F869CDCB-5116-49C6-86F5-DFE8BF5E87AC}" srcOrd="1" destOrd="0" presId="urn:microsoft.com/office/officeart/2005/8/layout/hierarchy5"/>
    <dgm:cxn modelId="{A5F45863-C288-40EC-B3DD-56DC6AB74EEB}" type="presParOf" srcId="{2DC4A343-78DE-4F15-BF8F-097A5CD56B39}" destId="{AABAAF17-BB44-4B19-9101-D4AD256CCD1E}" srcOrd="2" destOrd="0" presId="urn:microsoft.com/office/officeart/2005/8/layout/hierarchy5"/>
    <dgm:cxn modelId="{3E0285DF-D1FA-405A-A411-2C39D5BF6588}" type="presParOf" srcId="{AABAAF17-BB44-4B19-9101-D4AD256CCD1E}" destId="{B03111F4-B52F-419E-8B51-F44F1E5A5A6A}" srcOrd="0" destOrd="0" presId="urn:microsoft.com/office/officeart/2005/8/layout/hierarchy5"/>
    <dgm:cxn modelId="{FD1C09AC-C2DE-44B1-A800-041E74D2477F}" type="presParOf" srcId="{2DC4A343-78DE-4F15-BF8F-097A5CD56B39}" destId="{B4E984CB-A381-4541-85A8-E1E90A9FA478}" srcOrd="3" destOrd="0" presId="urn:microsoft.com/office/officeart/2005/8/layout/hierarchy5"/>
    <dgm:cxn modelId="{5AD2181E-603F-49F4-90BE-1B17E5D19307}" type="presParOf" srcId="{B4E984CB-A381-4541-85A8-E1E90A9FA478}" destId="{1E093CEC-59E8-4F75-9BE0-DAC937E232D7}" srcOrd="0" destOrd="0" presId="urn:microsoft.com/office/officeart/2005/8/layout/hierarchy5"/>
    <dgm:cxn modelId="{D2792E38-4D05-4EB4-A138-8E1E2D522333}" type="presParOf" srcId="{B4E984CB-A381-4541-85A8-E1E90A9FA478}" destId="{F4EBCBED-7131-4213-A4B7-A318D335EA4B}" srcOrd="1" destOrd="0" presId="urn:microsoft.com/office/officeart/2005/8/layout/hierarchy5"/>
    <dgm:cxn modelId="{94CB0FD5-BCE2-44F2-AE06-E10CABB50660}" type="presParOf" srcId="{2E5DF35B-15FC-48E8-8946-1C41EDDA5DD4}" destId="{688300FA-DE9B-4E5E-B85E-940A1FB73DC4}" srcOrd="4" destOrd="0" presId="urn:microsoft.com/office/officeart/2005/8/layout/hierarchy5"/>
    <dgm:cxn modelId="{7057AF10-D30F-4BC8-94A7-A479C22C2A52}" type="presParOf" srcId="{688300FA-DE9B-4E5E-B85E-940A1FB73DC4}" destId="{66C70094-7755-4DB5-8E35-C8FBA92C6F30}" srcOrd="0" destOrd="0" presId="urn:microsoft.com/office/officeart/2005/8/layout/hierarchy5"/>
    <dgm:cxn modelId="{99F9D8BB-EB69-4045-BCDF-1976E9ADC0B5}" type="presParOf" srcId="{2E5DF35B-15FC-48E8-8946-1C41EDDA5DD4}" destId="{481E0444-52A9-47CE-B810-8799D391A63E}" srcOrd="5" destOrd="0" presId="urn:microsoft.com/office/officeart/2005/8/layout/hierarchy5"/>
    <dgm:cxn modelId="{086A8E36-9A08-489A-8366-FD24596290CA}" type="presParOf" srcId="{481E0444-52A9-47CE-B810-8799D391A63E}" destId="{50C0B034-6B0F-480C-94D8-4BF748885748}" srcOrd="0" destOrd="0" presId="urn:microsoft.com/office/officeart/2005/8/layout/hierarchy5"/>
    <dgm:cxn modelId="{E47D992B-29A3-43FA-9E7A-9874A5208397}" type="presParOf" srcId="{481E0444-52A9-47CE-B810-8799D391A63E}" destId="{ED58B549-436B-4498-8D8E-9BAE8112F271}" srcOrd="1" destOrd="0" presId="urn:microsoft.com/office/officeart/2005/8/layout/hierarchy5"/>
    <dgm:cxn modelId="{1A5178BE-7D30-4F45-8EF6-7311767B17A5}" type="presParOf" srcId="{ED58B549-436B-4498-8D8E-9BAE8112F271}" destId="{9DAFE529-4B14-4842-B3C9-AAFAA70061A1}" srcOrd="0" destOrd="0" presId="urn:microsoft.com/office/officeart/2005/8/layout/hierarchy5"/>
    <dgm:cxn modelId="{9921D74B-069F-4F6A-ABAF-574C3E6C2F9D}" type="presParOf" srcId="{9DAFE529-4B14-4842-B3C9-AAFAA70061A1}" destId="{A29CA13D-FDE6-4F91-943D-CE5A568AE5F6}" srcOrd="0" destOrd="0" presId="urn:microsoft.com/office/officeart/2005/8/layout/hierarchy5"/>
    <dgm:cxn modelId="{3119118D-8876-41A0-A8EC-ABE04A728D64}" type="presParOf" srcId="{ED58B549-436B-4498-8D8E-9BAE8112F271}" destId="{41D3A1AE-F375-4C0D-A843-783E4E86D0B4}" srcOrd="1" destOrd="0" presId="urn:microsoft.com/office/officeart/2005/8/layout/hierarchy5"/>
    <dgm:cxn modelId="{A590A24E-511B-484F-B24C-3130AB33159D}" type="presParOf" srcId="{41D3A1AE-F375-4C0D-A843-783E4E86D0B4}" destId="{29A171E6-D0F5-4470-87A3-7E26241F201D}" srcOrd="0" destOrd="0" presId="urn:microsoft.com/office/officeart/2005/8/layout/hierarchy5"/>
    <dgm:cxn modelId="{CAED37C1-250E-43C8-B3D4-CAACE83252B2}" type="presParOf" srcId="{41D3A1AE-F375-4C0D-A843-783E4E86D0B4}" destId="{76FC3DA3-9359-4B60-B2FA-5190649364B0}" srcOrd="1" destOrd="0" presId="urn:microsoft.com/office/officeart/2005/8/layout/hierarchy5"/>
    <dgm:cxn modelId="{6F00F5A8-5303-48B4-BAAC-88A2AA72BADD}" type="presParOf" srcId="{EB42CA00-9262-44E8-AADD-B06E5EF0DBCA}" destId="{9262314E-B74D-488A-BDEB-7310280F9A07}" srcOrd="1" destOrd="0" presId="urn:microsoft.com/office/officeart/2005/8/layout/hierarchy5"/>
    <dgm:cxn modelId="{F22ABE5C-FE2F-480C-BE7C-73C9DE9A06A4}" type="presParOf" srcId="{9262314E-B74D-488A-BDEB-7310280F9A07}" destId="{88076520-6ECE-4B53-84C2-A2A868D49146}" srcOrd="0" destOrd="0" presId="urn:microsoft.com/office/officeart/2005/8/layout/hierarchy5"/>
    <dgm:cxn modelId="{9D3BB48F-1193-40B1-AD95-1092BFD5CD12}" type="presParOf" srcId="{88076520-6ECE-4B53-84C2-A2A868D49146}" destId="{D1EC4036-C7E1-44E0-AEA0-98FFB3FE7BB1}" srcOrd="0" destOrd="0" presId="urn:microsoft.com/office/officeart/2005/8/layout/hierarchy5"/>
    <dgm:cxn modelId="{2D6E8675-650A-4AFB-B333-D05B7D799C9A}" type="presParOf" srcId="{88076520-6ECE-4B53-84C2-A2A868D49146}" destId="{42A4B708-E792-4DCB-AF11-225DE7B0D727}" srcOrd="1" destOrd="0" presId="urn:microsoft.com/office/officeart/2005/8/layout/hierarchy5"/>
    <dgm:cxn modelId="{A04E8021-FED7-41C7-AF05-3B6D31CC8AE2}" type="presParOf" srcId="{9262314E-B74D-488A-BDEB-7310280F9A07}" destId="{E2D75C93-783D-41A6-AB62-D0815CA2316A}" srcOrd="1" destOrd="0" presId="urn:microsoft.com/office/officeart/2005/8/layout/hierarchy5"/>
    <dgm:cxn modelId="{4D7558ED-A1E9-49D8-99E4-B53B349D4813}" type="presParOf" srcId="{E2D75C93-783D-41A6-AB62-D0815CA2316A}" destId="{B0616FCE-F5EF-4774-B31D-C177C83C0C58}" srcOrd="0" destOrd="0" presId="urn:microsoft.com/office/officeart/2005/8/layout/hierarchy5"/>
    <dgm:cxn modelId="{3FD75CAD-A5B4-443D-87A9-121D3EC560D4}" type="presParOf" srcId="{9262314E-B74D-488A-BDEB-7310280F9A07}" destId="{74AA7978-E32D-41A4-A96F-6D6B16578A88}" srcOrd="2" destOrd="0" presId="urn:microsoft.com/office/officeart/2005/8/layout/hierarchy5"/>
    <dgm:cxn modelId="{A27A9E0F-1D3B-45DD-A353-CAACC4973859}" type="presParOf" srcId="{74AA7978-E32D-41A4-A96F-6D6B16578A88}" destId="{0D6F98C8-D1DE-4457-98E2-40DDFABA23EA}" srcOrd="0" destOrd="0" presId="urn:microsoft.com/office/officeart/2005/8/layout/hierarchy5"/>
    <dgm:cxn modelId="{11F8FF4D-BDDA-4854-A1DA-C59C9AB3BEA3}" type="presParOf" srcId="{74AA7978-E32D-41A4-A96F-6D6B16578A88}" destId="{CF33B9AF-8160-44F3-B1AB-1EE5DD83CE84}" srcOrd="1" destOrd="0" presId="urn:microsoft.com/office/officeart/2005/8/layout/hierarchy5"/>
    <dgm:cxn modelId="{4AFF127A-ED70-4146-A793-93C6AA7BE0BB}" type="presParOf" srcId="{9262314E-B74D-488A-BDEB-7310280F9A07}" destId="{5F43C73E-33FC-4930-8E01-3E9591634810}" srcOrd="3" destOrd="0" presId="urn:microsoft.com/office/officeart/2005/8/layout/hierarchy5"/>
    <dgm:cxn modelId="{6E916098-9070-47D8-A121-E75C14848B26}" type="presParOf" srcId="{5F43C73E-33FC-4930-8E01-3E9591634810}" destId="{E622DE46-3EAD-4FDB-91C2-CF945C261B12}" srcOrd="0" destOrd="0" presId="urn:microsoft.com/office/officeart/2005/8/layout/hierarchy5"/>
    <dgm:cxn modelId="{6EB5136F-8EEB-4578-948D-861F8B73CC77}" type="presParOf" srcId="{9262314E-B74D-488A-BDEB-7310280F9A07}" destId="{14E30126-8FD5-4CF3-8B05-70F7A1227F68}" srcOrd="4" destOrd="0" presId="urn:microsoft.com/office/officeart/2005/8/layout/hierarchy5"/>
    <dgm:cxn modelId="{A8C63A43-2A3E-4559-936C-7F0AAE8335DC}" type="presParOf" srcId="{14E30126-8FD5-4CF3-8B05-70F7A1227F68}" destId="{21241AFA-FCEE-4A6D-A14B-247E170E9E6D}" srcOrd="0" destOrd="0" presId="urn:microsoft.com/office/officeart/2005/8/layout/hierarchy5"/>
    <dgm:cxn modelId="{A5527034-5905-4E49-857D-75A57CBDE57E}" type="presParOf" srcId="{14E30126-8FD5-4CF3-8B05-70F7A1227F68}" destId="{CEF2B53F-F02F-4C5F-8AE7-07E4DFB6D25C}" srcOrd="1" destOrd="0" presId="urn:microsoft.com/office/officeart/2005/8/layout/hierarchy5"/>
    <dgm:cxn modelId="{B7BBD77B-FBFA-4ADB-8F1F-E68825830DC5}" type="presParOf" srcId="{9262314E-B74D-488A-BDEB-7310280F9A07}" destId="{1345F2B9-FBF8-4826-A674-00CA2C3F8369}" srcOrd="5" destOrd="0" presId="urn:microsoft.com/office/officeart/2005/8/layout/hierarchy5"/>
    <dgm:cxn modelId="{BDC67AF7-41CD-497A-A068-C061BB54C3A6}" type="presParOf" srcId="{1345F2B9-FBF8-4826-A674-00CA2C3F8369}" destId="{3FC3BBEE-C06C-4B77-867D-A75AD5D88B67}" srcOrd="0" destOrd="0" presId="urn:microsoft.com/office/officeart/2005/8/layout/hierarchy5"/>
    <dgm:cxn modelId="{EE853363-9862-434A-82E1-354BC00FA78D}" type="presParOf" srcId="{9262314E-B74D-488A-BDEB-7310280F9A07}" destId="{9246E46E-4A3C-4BD4-9050-008983002D00}" srcOrd="6" destOrd="0" presId="urn:microsoft.com/office/officeart/2005/8/layout/hierarchy5"/>
    <dgm:cxn modelId="{65B3783F-6CA5-4D01-920E-394B656A0300}" type="presParOf" srcId="{9246E46E-4A3C-4BD4-9050-008983002D00}" destId="{4A25EE1B-E91C-4724-B4AB-1F97ED02D5AA}" srcOrd="0" destOrd="0" presId="urn:microsoft.com/office/officeart/2005/8/layout/hierarchy5"/>
    <dgm:cxn modelId="{BDA65FBD-5C4B-4037-84BF-1E392E8C0B4C}" type="presParOf" srcId="{9246E46E-4A3C-4BD4-9050-008983002D00}" destId="{89C59674-22CC-4158-BFF0-70CF6825ABD0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083C0CA-3FB6-47D7-9DC2-E2C6C524134E}" type="doc">
      <dgm:prSet loTypeId="urn:microsoft.com/office/officeart/2005/8/layout/hierarchy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762EF590-160F-420F-9AE1-49883AA928AE}">
      <dgm:prSet phldrT="[Text]"/>
      <dgm:spPr/>
      <dgm:t>
        <a:bodyPr/>
        <a:lstStyle/>
        <a:p>
          <a:r>
            <a:rPr lang="nb-NO"/>
            <a:t>EU</a:t>
          </a:r>
        </a:p>
      </dgm:t>
    </dgm:pt>
    <dgm:pt modelId="{01162254-2848-468D-9D3F-B3E1D82D3659}" type="parTrans" cxnId="{A66EE9FA-AA4D-4D47-BB77-2EACB11BC450}">
      <dgm:prSet/>
      <dgm:spPr/>
      <dgm:t>
        <a:bodyPr/>
        <a:lstStyle/>
        <a:p>
          <a:endParaRPr lang="nb-NO"/>
        </a:p>
      </dgm:t>
    </dgm:pt>
    <dgm:pt modelId="{BAF6B390-E4A5-4905-9963-E10E9D044758}" type="sibTrans" cxnId="{A66EE9FA-AA4D-4D47-BB77-2EACB11BC450}">
      <dgm:prSet/>
      <dgm:spPr/>
      <dgm:t>
        <a:bodyPr/>
        <a:lstStyle/>
        <a:p>
          <a:endParaRPr lang="nb-NO"/>
        </a:p>
      </dgm:t>
    </dgm:pt>
    <dgm:pt modelId="{C6C784A2-4A7D-43EF-8E3F-984CEF035ECE}">
      <dgm:prSet phldrT="[Text]"/>
      <dgm:spPr/>
      <dgm:t>
        <a:bodyPr/>
        <a:lstStyle/>
        <a:p>
          <a:r>
            <a:rPr lang="nb-NO"/>
            <a:t>H2020</a:t>
          </a:r>
        </a:p>
      </dgm:t>
    </dgm:pt>
    <dgm:pt modelId="{6F7D707B-F7A3-4832-BE20-1352AD79E0E2}" type="parTrans" cxnId="{F4D63BC3-513A-4C28-BDA1-96CEA16B4165}">
      <dgm:prSet/>
      <dgm:spPr/>
      <dgm:t>
        <a:bodyPr/>
        <a:lstStyle/>
        <a:p>
          <a:endParaRPr lang="nb-NO"/>
        </a:p>
      </dgm:t>
    </dgm:pt>
    <dgm:pt modelId="{8D83A46D-5D2D-4FF3-A4B6-B34629373978}" type="sibTrans" cxnId="{F4D63BC3-513A-4C28-BDA1-96CEA16B4165}">
      <dgm:prSet/>
      <dgm:spPr/>
      <dgm:t>
        <a:bodyPr/>
        <a:lstStyle/>
        <a:p>
          <a:endParaRPr lang="nb-NO"/>
        </a:p>
      </dgm:t>
    </dgm:pt>
    <dgm:pt modelId="{80A6B342-B8A7-47A3-B530-17718B3AAE25}">
      <dgm:prSet phldrT="[Text]"/>
      <dgm:spPr/>
      <dgm:t>
        <a:bodyPr/>
        <a:lstStyle/>
        <a:p>
          <a:r>
            <a:rPr lang="nb-NO"/>
            <a:t>PreventIT</a:t>
          </a:r>
        </a:p>
      </dgm:t>
    </dgm:pt>
    <dgm:pt modelId="{10C88997-CC8C-4B8C-9053-34A7042019AC}" type="parTrans" cxnId="{0AF0AA52-269F-4B8F-B242-DD43502DC574}">
      <dgm:prSet/>
      <dgm:spPr/>
      <dgm:t>
        <a:bodyPr/>
        <a:lstStyle/>
        <a:p>
          <a:endParaRPr lang="nb-NO"/>
        </a:p>
      </dgm:t>
    </dgm:pt>
    <dgm:pt modelId="{B7CB029D-30ED-4C61-B4C5-6E860BFEA3A2}" type="sibTrans" cxnId="{0AF0AA52-269F-4B8F-B242-DD43502DC574}">
      <dgm:prSet/>
      <dgm:spPr/>
      <dgm:t>
        <a:bodyPr/>
        <a:lstStyle/>
        <a:p>
          <a:endParaRPr lang="nb-NO"/>
        </a:p>
      </dgm:t>
    </dgm:pt>
    <dgm:pt modelId="{EF64ACB9-1F7A-4916-B4F0-BE435D3742E4}">
      <dgm:prSet phldrT="[Text]"/>
      <dgm:spPr/>
      <dgm:t>
        <a:bodyPr/>
        <a:lstStyle/>
        <a:p>
          <a:r>
            <a:rPr lang="nb-NO"/>
            <a:t>FP7</a:t>
          </a:r>
        </a:p>
      </dgm:t>
    </dgm:pt>
    <dgm:pt modelId="{A65B4E19-7F7C-4C62-B35B-D4DAE3E68C9D}" type="parTrans" cxnId="{118B3EFF-5AC3-43FC-BDDE-88A25025E51C}">
      <dgm:prSet/>
      <dgm:spPr/>
      <dgm:t>
        <a:bodyPr/>
        <a:lstStyle/>
        <a:p>
          <a:endParaRPr lang="nb-NO"/>
        </a:p>
      </dgm:t>
    </dgm:pt>
    <dgm:pt modelId="{1B521E7D-1B57-4291-BA29-03511A0F757D}" type="sibTrans" cxnId="{118B3EFF-5AC3-43FC-BDDE-88A25025E51C}">
      <dgm:prSet/>
      <dgm:spPr/>
      <dgm:t>
        <a:bodyPr/>
        <a:lstStyle/>
        <a:p>
          <a:endParaRPr lang="nb-NO"/>
        </a:p>
      </dgm:t>
    </dgm:pt>
    <dgm:pt modelId="{36A70192-87D1-4539-BBC7-D48A2D0C89D9}">
      <dgm:prSet phldrT="[Text]"/>
      <dgm:spPr/>
      <dgm:t>
        <a:bodyPr/>
        <a:lstStyle/>
        <a:p>
          <a:r>
            <a:rPr lang="nb-NO"/>
            <a:t>Finansieringskilde</a:t>
          </a:r>
        </a:p>
      </dgm:t>
    </dgm:pt>
    <dgm:pt modelId="{202BE64C-E5A6-4383-BFB2-9BA6F4438CCC}" type="parTrans" cxnId="{65E566E5-75EF-4D84-B6F2-9B9C8BB7BFB3}">
      <dgm:prSet/>
      <dgm:spPr/>
      <dgm:t>
        <a:bodyPr/>
        <a:lstStyle/>
        <a:p>
          <a:endParaRPr lang="nb-NO"/>
        </a:p>
      </dgm:t>
    </dgm:pt>
    <dgm:pt modelId="{020F2221-9E53-437F-A3B4-F5C2E82D79C8}" type="sibTrans" cxnId="{65E566E5-75EF-4D84-B6F2-9B9C8BB7BFB3}">
      <dgm:prSet/>
      <dgm:spPr/>
      <dgm:t>
        <a:bodyPr/>
        <a:lstStyle/>
        <a:p>
          <a:endParaRPr lang="nb-NO"/>
        </a:p>
      </dgm:t>
    </dgm:pt>
    <dgm:pt modelId="{59CC6260-C883-4665-9988-77AE7AE67A81}">
      <dgm:prSet phldrT="[Text]"/>
      <dgm:spPr/>
      <dgm:t>
        <a:bodyPr/>
        <a:lstStyle/>
        <a:p>
          <a:r>
            <a:rPr lang="nb-NO"/>
            <a:t>Spesifisering av finansieringskilde</a:t>
          </a:r>
        </a:p>
      </dgm:t>
    </dgm:pt>
    <dgm:pt modelId="{C0095768-6CF2-46EC-AE9D-0EF09AA26C46}" type="parTrans" cxnId="{092B1F5A-985D-4AA7-9BC6-59215BAC8837}">
      <dgm:prSet/>
      <dgm:spPr/>
      <dgm:t>
        <a:bodyPr/>
        <a:lstStyle/>
        <a:p>
          <a:endParaRPr lang="nb-NO"/>
        </a:p>
      </dgm:t>
    </dgm:pt>
    <dgm:pt modelId="{3967ACEC-70FB-4BCE-8C80-58BCD7CE55D0}" type="sibTrans" cxnId="{092B1F5A-985D-4AA7-9BC6-59215BAC8837}">
      <dgm:prSet/>
      <dgm:spPr/>
      <dgm:t>
        <a:bodyPr/>
        <a:lstStyle/>
        <a:p>
          <a:endParaRPr lang="nb-NO"/>
        </a:p>
      </dgm:t>
    </dgm:pt>
    <dgm:pt modelId="{AD75AA9B-61F9-4782-9667-2016054E002F}">
      <dgm:prSet phldrT="[Text]"/>
      <dgm:spPr/>
      <dgm:t>
        <a:bodyPr/>
        <a:lstStyle/>
        <a:p>
          <a:r>
            <a:rPr lang="nb-NO"/>
            <a:t>Delprosjekt</a:t>
          </a:r>
        </a:p>
      </dgm:t>
    </dgm:pt>
    <dgm:pt modelId="{DE4AF088-E188-4841-8D66-9F8D3127C0D0}" type="parTrans" cxnId="{F2B1FCB4-4716-46AC-B966-A89E82170800}">
      <dgm:prSet/>
      <dgm:spPr/>
      <dgm:t>
        <a:bodyPr/>
        <a:lstStyle/>
        <a:p>
          <a:endParaRPr lang="nb-NO"/>
        </a:p>
      </dgm:t>
    </dgm:pt>
    <dgm:pt modelId="{D8ECF68D-41C1-4481-BA71-51DF3CBA8583}" type="sibTrans" cxnId="{F2B1FCB4-4716-46AC-B966-A89E82170800}">
      <dgm:prSet/>
      <dgm:spPr/>
      <dgm:t>
        <a:bodyPr/>
        <a:lstStyle/>
        <a:p>
          <a:endParaRPr lang="nb-NO"/>
        </a:p>
      </dgm:t>
    </dgm:pt>
    <dgm:pt modelId="{54A4C670-8DD9-4337-9AE8-2689807FFE5A}">
      <dgm:prSet phldrT="[Text]"/>
      <dgm:spPr/>
      <dgm:t>
        <a:bodyPr/>
        <a:lstStyle/>
        <a:p>
          <a:r>
            <a:rPr lang="nb-NO" err="1"/>
            <a:t>Mobilise</a:t>
          </a:r>
          <a:r>
            <a:rPr lang="nb-NO"/>
            <a:t>-D</a:t>
          </a:r>
        </a:p>
      </dgm:t>
    </dgm:pt>
    <dgm:pt modelId="{E0F1BADC-827A-49B0-9F5F-9634A9BCF4A5}" type="parTrans" cxnId="{3230522F-4A8C-4CFE-8846-90BA5755DB1A}">
      <dgm:prSet/>
      <dgm:spPr/>
      <dgm:t>
        <a:bodyPr/>
        <a:lstStyle/>
        <a:p>
          <a:endParaRPr lang="nb-NO"/>
        </a:p>
      </dgm:t>
    </dgm:pt>
    <dgm:pt modelId="{1D935F62-AADA-4749-806F-C2F9C0ACA8E1}" type="sibTrans" cxnId="{3230522F-4A8C-4CFE-8846-90BA5755DB1A}">
      <dgm:prSet/>
      <dgm:spPr/>
      <dgm:t>
        <a:bodyPr/>
        <a:lstStyle/>
        <a:p>
          <a:endParaRPr lang="nb-NO"/>
        </a:p>
      </dgm:t>
    </dgm:pt>
    <dgm:pt modelId="{F3029CBD-AE6C-438F-896C-F893850C6117}">
      <dgm:prSet phldrT="[Text]"/>
      <dgm:spPr/>
      <dgm:t>
        <a:bodyPr/>
        <a:lstStyle/>
        <a:p>
          <a:r>
            <a:rPr lang="nb-NO" err="1"/>
            <a:t>Exergaming</a:t>
          </a:r>
          <a:endParaRPr lang="nb-NO"/>
        </a:p>
      </dgm:t>
    </dgm:pt>
    <dgm:pt modelId="{06F2231A-1518-4A9A-9B4A-E504F801A1ED}" type="parTrans" cxnId="{376685E6-CA76-4C27-86F7-CBF3E394CEF4}">
      <dgm:prSet/>
      <dgm:spPr/>
      <dgm:t>
        <a:bodyPr/>
        <a:lstStyle/>
        <a:p>
          <a:endParaRPr lang="nb-NO"/>
        </a:p>
      </dgm:t>
    </dgm:pt>
    <dgm:pt modelId="{0B2BA607-A389-483A-BE5F-12697E44AF29}" type="sibTrans" cxnId="{376685E6-CA76-4C27-86F7-CBF3E394CEF4}">
      <dgm:prSet/>
      <dgm:spPr/>
      <dgm:t>
        <a:bodyPr/>
        <a:lstStyle/>
        <a:p>
          <a:endParaRPr lang="nb-NO"/>
        </a:p>
      </dgm:t>
    </dgm:pt>
    <dgm:pt modelId="{EB42CA00-9262-44E8-AADD-B06E5EF0DBCA}" type="pres">
      <dgm:prSet presAssocID="{9083C0CA-3FB6-47D7-9DC2-E2C6C524134E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7F244006-027F-47D1-985E-F9CC3A375B7B}" type="pres">
      <dgm:prSet presAssocID="{9083C0CA-3FB6-47D7-9DC2-E2C6C524134E}" presName="hierFlow" presStyleCnt="0"/>
      <dgm:spPr/>
    </dgm:pt>
    <dgm:pt modelId="{BE7FA140-75F1-468B-8E1C-C2EF74552FF4}" type="pres">
      <dgm:prSet presAssocID="{9083C0CA-3FB6-47D7-9DC2-E2C6C524134E}" presName="firstBuf" presStyleCnt="0"/>
      <dgm:spPr/>
    </dgm:pt>
    <dgm:pt modelId="{CEE6A8FF-2F9B-4400-A062-A4077AE000FA}" type="pres">
      <dgm:prSet presAssocID="{9083C0CA-3FB6-47D7-9DC2-E2C6C524134E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80AECA72-C954-43BD-901A-CD5E00F536AD}" type="pres">
      <dgm:prSet presAssocID="{762EF590-160F-420F-9AE1-49883AA928AE}" presName="Name17" presStyleCnt="0"/>
      <dgm:spPr/>
    </dgm:pt>
    <dgm:pt modelId="{F91660F9-9DA9-4BCC-BFF0-439EB06AE054}" type="pres">
      <dgm:prSet presAssocID="{762EF590-160F-420F-9AE1-49883AA928AE}" presName="level1Shape" presStyleLbl="node0" presStyleIdx="0" presStyleCnt="1" custScaleX="125192" custScaleY="248978" custLinFactNeighborX="-14456" custLinFactNeighborY="-41010">
        <dgm:presLayoutVars>
          <dgm:chPref val="3"/>
        </dgm:presLayoutVars>
      </dgm:prSet>
      <dgm:spPr/>
    </dgm:pt>
    <dgm:pt modelId="{2E5DF35B-15FC-48E8-8946-1C41EDDA5DD4}" type="pres">
      <dgm:prSet presAssocID="{762EF590-160F-420F-9AE1-49883AA928AE}" presName="hierChild2" presStyleCnt="0"/>
      <dgm:spPr/>
    </dgm:pt>
    <dgm:pt modelId="{C6498F3A-E144-4EA7-8583-38A843F262DC}" type="pres">
      <dgm:prSet presAssocID="{6F7D707B-F7A3-4832-BE20-1352AD79E0E2}" presName="Name25" presStyleLbl="parChTrans1D2" presStyleIdx="0" presStyleCnt="2"/>
      <dgm:spPr/>
    </dgm:pt>
    <dgm:pt modelId="{245EF6D8-6C8D-4151-9528-206752E7FFA9}" type="pres">
      <dgm:prSet presAssocID="{6F7D707B-F7A3-4832-BE20-1352AD79E0E2}" presName="connTx" presStyleLbl="parChTrans1D2" presStyleIdx="0" presStyleCnt="2"/>
      <dgm:spPr/>
    </dgm:pt>
    <dgm:pt modelId="{F0A850C1-0246-4FCD-BFCB-4C4618571A15}" type="pres">
      <dgm:prSet presAssocID="{C6C784A2-4A7D-43EF-8E3F-984CEF035ECE}" presName="Name30" presStyleCnt="0"/>
      <dgm:spPr/>
    </dgm:pt>
    <dgm:pt modelId="{9C373FCA-D79C-44D5-9300-9CFC761AA81C}" type="pres">
      <dgm:prSet presAssocID="{C6C784A2-4A7D-43EF-8E3F-984CEF035ECE}" presName="level2Shape" presStyleLbl="node2" presStyleIdx="0" presStyleCnt="2" custScaleY="176380" custLinFactNeighborX="-22638" custLinFactNeighborY="-5906"/>
      <dgm:spPr/>
    </dgm:pt>
    <dgm:pt modelId="{37311B4B-76CC-404A-A442-770C06213E2F}" type="pres">
      <dgm:prSet presAssocID="{C6C784A2-4A7D-43EF-8E3F-984CEF035ECE}" presName="hierChild3" presStyleCnt="0"/>
      <dgm:spPr/>
    </dgm:pt>
    <dgm:pt modelId="{2EFC976A-E189-42FD-A925-E7416E513E1E}" type="pres">
      <dgm:prSet presAssocID="{10C88997-CC8C-4B8C-9053-34A7042019AC}" presName="Name25" presStyleLbl="parChTrans1D3" presStyleIdx="0" presStyleCnt="3"/>
      <dgm:spPr/>
    </dgm:pt>
    <dgm:pt modelId="{A6B2D96E-6EE8-4A4F-B714-6C0D69619469}" type="pres">
      <dgm:prSet presAssocID="{10C88997-CC8C-4B8C-9053-34A7042019AC}" presName="connTx" presStyleLbl="parChTrans1D3" presStyleIdx="0" presStyleCnt="3"/>
      <dgm:spPr/>
    </dgm:pt>
    <dgm:pt modelId="{7A40B749-5034-4B2D-B247-6FFA187F86CD}" type="pres">
      <dgm:prSet presAssocID="{80A6B342-B8A7-47A3-B530-17718B3AAE25}" presName="Name30" presStyleCnt="0"/>
      <dgm:spPr/>
    </dgm:pt>
    <dgm:pt modelId="{1840529B-EB1A-49D8-A620-57054FC55365}" type="pres">
      <dgm:prSet presAssocID="{80A6B342-B8A7-47A3-B530-17718B3AAE25}" presName="level2Shape" presStyleLbl="node3" presStyleIdx="0" presStyleCnt="3" custLinFactNeighborX="-18701" custLinFactNeighborY="5201"/>
      <dgm:spPr/>
    </dgm:pt>
    <dgm:pt modelId="{9955EA75-6B6E-4402-A2B6-DB8E7AF9E398}" type="pres">
      <dgm:prSet presAssocID="{80A6B342-B8A7-47A3-B530-17718B3AAE25}" presName="hierChild3" presStyleCnt="0"/>
      <dgm:spPr/>
    </dgm:pt>
    <dgm:pt modelId="{EA2AC298-4FCA-4294-BC88-19F8213F95AA}" type="pres">
      <dgm:prSet presAssocID="{E0F1BADC-827A-49B0-9F5F-9634A9BCF4A5}" presName="Name25" presStyleLbl="parChTrans1D3" presStyleIdx="1" presStyleCnt="3"/>
      <dgm:spPr/>
    </dgm:pt>
    <dgm:pt modelId="{F214CB70-2EEE-4C6F-AB79-F4DD209A1D94}" type="pres">
      <dgm:prSet presAssocID="{E0F1BADC-827A-49B0-9F5F-9634A9BCF4A5}" presName="connTx" presStyleLbl="parChTrans1D3" presStyleIdx="1" presStyleCnt="3"/>
      <dgm:spPr/>
    </dgm:pt>
    <dgm:pt modelId="{8384B978-D8AC-47D2-814D-3902F14E9744}" type="pres">
      <dgm:prSet presAssocID="{54A4C670-8DD9-4337-9AE8-2689807FFE5A}" presName="Name30" presStyleCnt="0"/>
      <dgm:spPr/>
    </dgm:pt>
    <dgm:pt modelId="{F8709A01-3DFB-4883-98F3-4DC7FD64DE07}" type="pres">
      <dgm:prSet presAssocID="{54A4C670-8DD9-4337-9AE8-2689807FFE5A}" presName="level2Shape" presStyleLbl="node3" presStyleIdx="1" presStyleCnt="3" custLinFactNeighborX="-20669" custLinFactNeighborY="-7874"/>
      <dgm:spPr/>
    </dgm:pt>
    <dgm:pt modelId="{D9FAF300-E622-49C2-8A0F-978B44DADBCB}" type="pres">
      <dgm:prSet presAssocID="{54A4C670-8DD9-4337-9AE8-2689807FFE5A}" presName="hierChild3" presStyleCnt="0"/>
      <dgm:spPr/>
    </dgm:pt>
    <dgm:pt modelId="{523A4C08-7080-4828-80F7-6A0F00AE1C7F}" type="pres">
      <dgm:prSet presAssocID="{A65B4E19-7F7C-4C62-B35B-D4DAE3E68C9D}" presName="Name25" presStyleLbl="parChTrans1D2" presStyleIdx="1" presStyleCnt="2"/>
      <dgm:spPr/>
    </dgm:pt>
    <dgm:pt modelId="{F866B54B-7D2B-4255-B4FD-A24EDA994BEC}" type="pres">
      <dgm:prSet presAssocID="{A65B4E19-7F7C-4C62-B35B-D4DAE3E68C9D}" presName="connTx" presStyleLbl="parChTrans1D2" presStyleIdx="1" presStyleCnt="2"/>
      <dgm:spPr/>
    </dgm:pt>
    <dgm:pt modelId="{9011B6F8-3A9C-4DCE-AFDD-D151276C3E0F}" type="pres">
      <dgm:prSet presAssocID="{EF64ACB9-1F7A-4916-B4F0-BE435D3742E4}" presName="Name30" presStyleCnt="0"/>
      <dgm:spPr/>
    </dgm:pt>
    <dgm:pt modelId="{E85055A5-EC36-4AB2-8685-8F3F08926F97}" type="pres">
      <dgm:prSet presAssocID="{EF64ACB9-1F7A-4916-B4F0-BE435D3742E4}" presName="level2Shape" presStyleLbl="node2" presStyleIdx="1" presStyleCnt="2" custLinFactNeighborX="-19685"/>
      <dgm:spPr/>
    </dgm:pt>
    <dgm:pt modelId="{479816AD-BEBF-407F-A0C2-E6006B095842}" type="pres">
      <dgm:prSet presAssocID="{EF64ACB9-1F7A-4916-B4F0-BE435D3742E4}" presName="hierChild3" presStyleCnt="0"/>
      <dgm:spPr/>
    </dgm:pt>
    <dgm:pt modelId="{BEF23B3C-1E16-4B1B-900D-FF2089EAAEC7}" type="pres">
      <dgm:prSet presAssocID="{06F2231A-1518-4A9A-9B4A-E504F801A1ED}" presName="Name25" presStyleLbl="parChTrans1D3" presStyleIdx="2" presStyleCnt="3"/>
      <dgm:spPr/>
    </dgm:pt>
    <dgm:pt modelId="{AB40FE3E-1BE0-454B-B12E-81986E5CA37F}" type="pres">
      <dgm:prSet presAssocID="{06F2231A-1518-4A9A-9B4A-E504F801A1ED}" presName="connTx" presStyleLbl="parChTrans1D3" presStyleIdx="2" presStyleCnt="3"/>
      <dgm:spPr/>
    </dgm:pt>
    <dgm:pt modelId="{FEF2F18B-39BE-4FF2-B131-24FB44268A01}" type="pres">
      <dgm:prSet presAssocID="{F3029CBD-AE6C-438F-896C-F893850C6117}" presName="Name30" presStyleCnt="0"/>
      <dgm:spPr/>
    </dgm:pt>
    <dgm:pt modelId="{93093E33-AEF4-4E37-907D-24E4BFAA5E21}" type="pres">
      <dgm:prSet presAssocID="{F3029CBD-AE6C-438F-896C-F893850C6117}" presName="level2Shape" presStyleLbl="node3" presStyleIdx="2" presStyleCnt="3" custLinFactNeighborX="-21653" custLinFactNeighborY="21653"/>
      <dgm:spPr/>
    </dgm:pt>
    <dgm:pt modelId="{00A5A783-A31D-45A2-A4A5-FDFA05D194BD}" type="pres">
      <dgm:prSet presAssocID="{F3029CBD-AE6C-438F-896C-F893850C6117}" presName="hierChild3" presStyleCnt="0"/>
      <dgm:spPr/>
    </dgm:pt>
    <dgm:pt modelId="{9262314E-B74D-488A-BDEB-7310280F9A07}" type="pres">
      <dgm:prSet presAssocID="{9083C0CA-3FB6-47D7-9DC2-E2C6C524134E}" presName="bgShapesFlow" presStyleCnt="0"/>
      <dgm:spPr/>
    </dgm:pt>
    <dgm:pt modelId="{88076520-6ECE-4B53-84C2-A2A868D49146}" type="pres">
      <dgm:prSet presAssocID="{36A70192-87D1-4539-BBC7-D48A2D0C89D9}" presName="rectComp" presStyleCnt="0"/>
      <dgm:spPr/>
    </dgm:pt>
    <dgm:pt modelId="{D1EC4036-C7E1-44E0-AEA0-98FFB3FE7BB1}" type="pres">
      <dgm:prSet presAssocID="{36A70192-87D1-4539-BBC7-D48A2D0C89D9}" presName="bgRect" presStyleLbl="bgShp" presStyleIdx="0" presStyleCnt="3"/>
      <dgm:spPr/>
    </dgm:pt>
    <dgm:pt modelId="{42A4B708-E792-4DCB-AF11-225DE7B0D727}" type="pres">
      <dgm:prSet presAssocID="{36A70192-87D1-4539-BBC7-D48A2D0C89D9}" presName="bgRectTx" presStyleLbl="bgShp" presStyleIdx="0" presStyleCnt="3">
        <dgm:presLayoutVars>
          <dgm:bulletEnabled val="1"/>
        </dgm:presLayoutVars>
      </dgm:prSet>
      <dgm:spPr/>
    </dgm:pt>
    <dgm:pt modelId="{E2D75C93-783D-41A6-AB62-D0815CA2316A}" type="pres">
      <dgm:prSet presAssocID="{36A70192-87D1-4539-BBC7-D48A2D0C89D9}" presName="spComp" presStyleCnt="0"/>
      <dgm:spPr/>
    </dgm:pt>
    <dgm:pt modelId="{B0616FCE-F5EF-4774-B31D-C177C83C0C58}" type="pres">
      <dgm:prSet presAssocID="{36A70192-87D1-4539-BBC7-D48A2D0C89D9}" presName="hSp" presStyleCnt="0"/>
      <dgm:spPr/>
    </dgm:pt>
    <dgm:pt modelId="{74AA7978-E32D-41A4-A96F-6D6B16578A88}" type="pres">
      <dgm:prSet presAssocID="{59CC6260-C883-4665-9988-77AE7AE67A81}" presName="rectComp" presStyleCnt="0"/>
      <dgm:spPr/>
    </dgm:pt>
    <dgm:pt modelId="{0D6F98C8-D1DE-4457-98E2-40DDFABA23EA}" type="pres">
      <dgm:prSet presAssocID="{59CC6260-C883-4665-9988-77AE7AE67A81}" presName="bgRect" presStyleLbl="bgShp" presStyleIdx="1" presStyleCnt="3"/>
      <dgm:spPr/>
    </dgm:pt>
    <dgm:pt modelId="{CF33B9AF-8160-44F3-B1AB-1EE5DD83CE84}" type="pres">
      <dgm:prSet presAssocID="{59CC6260-C883-4665-9988-77AE7AE67A81}" presName="bgRectTx" presStyleLbl="bgShp" presStyleIdx="1" presStyleCnt="3">
        <dgm:presLayoutVars>
          <dgm:bulletEnabled val="1"/>
        </dgm:presLayoutVars>
      </dgm:prSet>
      <dgm:spPr/>
    </dgm:pt>
    <dgm:pt modelId="{5F43C73E-33FC-4930-8E01-3E9591634810}" type="pres">
      <dgm:prSet presAssocID="{59CC6260-C883-4665-9988-77AE7AE67A81}" presName="spComp" presStyleCnt="0"/>
      <dgm:spPr/>
    </dgm:pt>
    <dgm:pt modelId="{E622DE46-3EAD-4FDB-91C2-CF945C261B12}" type="pres">
      <dgm:prSet presAssocID="{59CC6260-C883-4665-9988-77AE7AE67A81}" presName="hSp" presStyleCnt="0"/>
      <dgm:spPr/>
    </dgm:pt>
    <dgm:pt modelId="{14E30126-8FD5-4CF3-8B05-70F7A1227F68}" type="pres">
      <dgm:prSet presAssocID="{AD75AA9B-61F9-4782-9667-2016054E002F}" presName="rectComp" presStyleCnt="0"/>
      <dgm:spPr/>
    </dgm:pt>
    <dgm:pt modelId="{21241AFA-FCEE-4A6D-A14B-247E170E9E6D}" type="pres">
      <dgm:prSet presAssocID="{AD75AA9B-61F9-4782-9667-2016054E002F}" presName="bgRect" presStyleLbl="bgShp" presStyleIdx="2" presStyleCnt="3"/>
      <dgm:spPr/>
    </dgm:pt>
    <dgm:pt modelId="{CEF2B53F-F02F-4C5F-8AE7-07E4DFB6D25C}" type="pres">
      <dgm:prSet presAssocID="{AD75AA9B-61F9-4782-9667-2016054E002F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035E3100-9077-4EBC-8B27-69B25EE81E02}" type="presOf" srcId="{762EF590-160F-420F-9AE1-49883AA928AE}" destId="{F91660F9-9DA9-4BCC-BFF0-439EB06AE054}" srcOrd="0" destOrd="0" presId="urn:microsoft.com/office/officeart/2005/8/layout/hierarchy5"/>
    <dgm:cxn modelId="{9B5D0519-382A-4054-9D86-F2C409F2FD45}" type="presOf" srcId="{10C88997-CC8C-4B8C-9053-34A7042019AC}" destId="{A6B2D96E-6EE8-4A4F-B714-6C0D69619469}" srcOrd="1" destOrd="0" presId="urn:microsoft.com/office/officeart/2005/8/layout/hierarchy5"/>
    <dgm:cxn modelId="{D545861D-0589-46C6-83C7-BAACAB6A0DE8}" type="presOf" srcId="{AD75AA9B-61F9-4782-9667-2016054E002F}" destId="{21241AFA-FCEE-4A6D-A14B-247E170E9E6D}" srcOrd="0" destOrd="0" presId="urn:microsoft.com/office/officeart/2005/8/layout/hierarchy5"/>
    <dgm:cxn modelId="{14DCB025-91B7-45C2-924D-6398794E29F9}" type="presOf" srcId="{9083C0CA-3FB6-47D7-9DC2-E2C6C524134E}" destId="{EB42CA00-9262-44E8-AADD-B06E5EF0DBCA}" srcOrd="0" destOrd="0" presId="urn:microsoft.com/office/officeart/2005/8/layout/hierarchy5"/>
    <dgm:cxn modelId="{432ABB2E-8E3C-452E-967C-3B9C07CEE6B8}" type="presOf" srcId="{36A70192-87D1-4539-BBC7-D48A2D0C89D9}" destId="{42A4B708-E792-4DCB-AF11-225DE7B0D727}" srcOrd="1" destOrd="0" presId="urn:microsoft.com/office/officeart/2005/8/layout/hierarchy5"/>
    <dgm:cxn modelId="{3230522F-4A8C-4CFE-8846-90BA5755DB1A}" srcId="{C6C784A2-4A7D-43EF-8E3F-984CEF035ECE}" destId="{54A4C670-8DD9-4337-9AE8-2689807FFE5A}" srcOrd="1" destOrd="0" parTransId="{E0F1BADC-827A-49B0-9F5F-9634A9BCF4A5}" sibTransId="{1D935F62-AADA-4749-806F-C2F9C0ACA8E1}"/>
    <dgm:cxn modelId="{6EC00A36-47AB-4DB5-99EF-70B21683F202}" type="presOf" srcId="{F3029CBD-AE6C-438F-896C-F893850C6117}" destId="{93093E33-AEF4-4E37-907D-24E4BFAA5E21}" srcOrd="0" destOrd="0" presId="urn:microsoft.com/office/officeart/2005/8/layout/hierarchy5"/>
    <dgm:cxn modelId="{381C9F38-D0AC-47C7-8D6D-8724865F7DA2}" type="presOf" srcId="{80A6B342-B8A7-47A3-B530-17718B3AAE25}" destId="{1840529B-EB1A-49D8-A620-57054FC55365}" srcOrd="0" destOrd="0" presId="urn:microsoft.com/office/officeart/2005/8/layout/hierarchy5"/>
    <dgm:cxn modelId="{0AF0AA52-269F-4B8F-B242-DD43502DC574}" srcId="{C6C784A2-4A7D-43EF-8E3F-984CEF035ECE}" destId="{80A6B342-B8A7-47A3-B530-17718B3AAE25}" srcOrd="0" destOrd="0" parTransId="{10C88997-CC8C-4B8C-9053-34A7042019AC}" sibTransId="{B7CB029D-30ED-4C61-B4C5-6E860BFEA3A2}"/>
    <dgm:cxn modelId="{092B1F5A-985D-4AA7-9BC6-59215BAC8837}" srcId="{9083C0CA-3FB6-47D7-9DC2-E2C6C524134E}" destId="{59CC6260-C883-4665-9988-77AE7AE67A81}" srcOrd="2" destOrd="0" parTransId="{C0095768-6CF2-46EC-AE9D-0EF09AA26C46}" sibTransId="{3967ACEC-70FB-4BCE-8C80-58BCD7CE55D0}"/>
    <dgm:cxn modelId="{9AF0C97A-22C4-4168-95DD-27FB69F0665B}" type="presOf" srcId="{EF64ACB9-1F7A-4916-B4F0-BE435D3742E4}" destId="{E85055A5-EC36-4AB2-8685-8F3F08926F97}" srcOrd="0" destOrd="0" presId="urn:microsoft.com/office/officeart/2005/8/layout/hierarchy5"/>
    <dgm:cxn modelId="{30F8497B-C306-4EA2-AE27-121A58048CAD}" type="presOf" srcId="{E0F1BADC-827A-49B0-9F5F-9634A9BCF4A5}" destId="{EA2AC298-4FCA-4294-BC88-19F8213F95AA}" srcOrd="0" destOrd="0" presId="urn:microsoft.com/office/officeart/2005/8/layout/hierarchy5"/>
    <dgm:cxn modelId="{36293E7D-E3EC-43F6-9CAC-D3BEC4DEF779}" type="presOf" srcId="{6F7D707B-F7A3-4832-BE20-1352AD79E0E2}" destId="{C6498F3A-E144-4EA7-8583-38A843F262DC}" srcOrd="0" destOrd="0" presId="urn:microsoft.com/office/officeart/2005/8/layout/hierarchy5"/>
    <dgm:cxn modelId="{B3EFCF8D-8F7D-415F-A00F-9FD011AAD4ED}" type="presOf" srcId="{6F7D707B-F7A3-4832-BE20-1352AD79E0E2}" destId="{245EF6D8-6C8D-4151-9528-206752E7FFA9}" srcOrd="1" destOrd="0" presId="urn:microsoft.com/office/officeart/2005/8/layout/hierarchy5"/>
    <dgm:cxn modelId="{13B1AD8E-E9A9-49AF-B780-10D1DA7298B2}" type="presOf" srcId="{54A4C670-8DD9-4337-9AE8-2689807FFE5A}" destId="{F8709A01-3DFB-4883-98F3-4DC7FD64DE07}" srcOrd="0" destOrd="0" presId="urn:microsoft.com/office/officeart/2005/8/layout/hierarchy5"/>
    <dgm:cxn modelId="{CB2A1194-B921-4F34-AF2D-A44A2AF01B98}" type="presOf" srcId="{AD75AA9B-61F9-4782-9667-2016054E002F}" destId="{CEF2B53F-F02F-4C5F-8AE7-07E4DFB6D25C}" srcOrd="1" destOrd="0" presId="urn:microsoft.com/office/officeart/2005/8/layout/hierarchy5"/>
    <dgm:cxn modelId="{3FF641A1-ECF5-483C-83AD-F9D968BE1C00}" type="presOf" srcId="{10C88997-CC8C-4B8C-9053-34A7042019AC}" destId="{2EFC976A-E189-42FD-A925-E7416E513E1E}" srcOrd="0" destOrd="0" presId="urn:microsoft.com/office/officeart/2005/8/layout/hierarchy5"/>
    <dgm:cxn modelId="{EA5452B1-BE39-41D1-BA36-AC7D20E5C586}" type="presOf" srcId="{59CC6260-C883-4665-9988-77AE7AE67A81}" destId="{CF33B9AF-8160-44F3-B1AB-1EE5DD83CE84}" srcOrd="1" destOrd="0" presId="urn:microsoft.com/office/officeart/2005/8/layout/hierarchy5"/>
    <dgm:cxn modelId="{F2B1FCB4-4716-46AC-B966-A89E82170800}" srcId="{9083C0CA-3FB6-47D7-9DC2-E2C6C524134E}" destId="{AD75AA9B-61F9-4782-9667-2016054E002F}" srcOrd="3" destOrd="0" parTransId="{DE4AF088-E188-4841-8D66-9F8D3127C0D0}" sibTransId="{D8ECF68D-41C1-4481-BA71-51DF3CBA8583}"/>
    <dgm:cxn modelId="{209BAAB8-05C7-4AA8-ADD9-35CF8FD627D0}" type="presOf" srcId="{06F2231A-1518-4A9A-9B4A-E504F801A1ED}" destId="{AB40FE3E-1BE0-454B-B12E-81986E5CA37F}" srcOrd="1" destOrd="0" presId="urn:microsoft.com/office/officeart/2005/8/layout/hierarchy5"/>
    <dgm:cxn modelId="{F4D63BC3-513A-4C28-BDA1-96CEA16B4165}" srcId="{762EF590-160F-420F-9AE1-49883AA928AE}" destId="{C6C784A2-4A7D-43EF-8E3F-984CEF035ECE}" srcOrd="0" destOrd="0" parTransId="{6F7D707B-F7A3-4832-BE20-1352AD79E0E2}" sibTransId="{8D83A46D-5D2D-4FF3-A4B6-B34629373978}"/>
    <dgm:cxn modelId="{3D8A80D2-7002-4B98-90E0-FC30C153AD7B}" type="presOf" srcId="{06F2231A-1518-4A9A-9B4A-E504F801A1ED}" destId="{BEF23B3C-1E16-4B1B-900D-FF2089EAAEC7}" srcOrd="0" destOrd="0" presId="urn:microsoft.com/office/officeart/2005/8/layout/hierarchy5"/>
    <dgm:cxn modelId="{F9802FD8-20FF-433D-87C2-8862BDA05BCF}" type="presOf" srcId="{C6C784A2-4A7D-43EF-8E3F-984CEF035ECE}" destId="{9C373FCA-D79C-44D5-9300-9CFC761AA81C}" srcOrd="0" destOrd="0" presId="urn:microsoft.com/office/officeart/2005/8/layout/hierarchy5"/>
    <dgm:cxn modelId="{65E566E5-75EF-4D84-B6F2-9B9C8BB7BFB3}" srcId="{9083C0CA-3FB6-47D7-9DC2-E2C6C524134E}" destId="{36A70192-87D1-4539-BBC7-D48A2D0C89D9}" srcOrd="1" destOrd="0" parTransId="{202BE64C-E5A6-4383-BFB2-9BA6F4438CCC}" sibTransId="{020F2221-9E53-437F-A3B4-F5C2E82D79C8}"/>
    <dgm:cxn modelId="{735C78E5-52EC-4DA2-92A0-E71772843E60}" type="presOf" srcId="{A65B4E19-7F7C-4C62-B35B-D4DAE3E68C9D}" destId="{523A4C08-7080-4828-80F7-6A0F00AE1C7F}" srcOrd="0" destOrd="0" presId="urn:microsoft.com/office/officeart/2005/8/layout/hierarchy5"/>
    <dgm:cxn modelId="{376685E6-CA76-4C27-86F7-CBF3E394CEF4}" srcId="{EF64ACB9-1F7A-4916-B4F0-BE435D3742E4}" destId="{F3029CBD-AE6C-438F-896C-F893850C6117}" srcOrd="0" destOrd="0" parTransId="{06F2231A-1518-4A9A-9B4A-E504F801A1ED}" sibTransId="{0B2BA607-A389-483A-BE5F-12697E44AF29}"/>
    <dgm:cxn modelId="{0BA6B1E8-2564-4520-AD87-68654DCC3977}" type="presOf" srcId="{E0F1BADC-827A-49B0-9F5F-9634A9BCF4A5}" destId="{F214CB70-2EEE-4C6F-AB79-F4DD209A1D94}" srcOrd="1" destOrd="0" presId="urn:microsoft.com/office/officeart/2005/8/layout/hierarchy5"/>
    <dgm:cxn modelId="{50E74FEC-F86F-402F-BADF-202D39D696A1}" type="presOf" srcId="{36A70192-87D1-4539-BBC7-D48A2D0C89D9}" destId="{D1EC4036-C7E1-44E0-AEA0-98FFB3FE7BB1}" srcOrd="0" destOrd="0" presId="urn:microsoft.com/office/officeart/2005/8/layout/hierarchy5"/>
    <dgm:cxn modelId="{23FA01EF-83AB-400D-BE02-4BEBE917F310}" type="presOf" srcId="{59CC6260-C883-4665-9988-77AE7AE67A81}" destId="{0D6F98C8-D1DE-4457-98E2-40DDFABA23EA}" srcOrd="0" destOrd="0" presId="urn:microsoft.com/office/officeart/2005/8/layout/hierarchy5"/>
    <dgm:cxn modelId="{057B65F8-E65D-41C8-8116-4DEE41639320}" type="presOf" srcId="{A65B4E19-7F7C-4C62-B35B-D4DAE3E68C9D}" destId="{F866B54B-7D2B-4255-B4FD-A24EDA994BEC}" srcOrd="1" destOrd="0" presId="urn:microsoft.com/office/officeart/2005/8/layout/hierarchy5"/>
    <dgm:cxn modelId="{A66EE9FA-AA4D-4D47-BB77-2EACB11BC450}" srcId="{9083C0CA-3FB6-47D7-9DC2-E2C6C524134E}" destId="{762EF590-160F-420F-9AE1-49883AA928AE}" srcOrd="0" destOrd="0" parTransId="{01162254-2848-468D-9D3F-B3E1D82D3659}" sibTransId="{BAF6B390-E4A5-4905-9963-E10E9D044758}"/>
    <dgm:cxn modelId="{118B3EFF-5AC3-43FC-BDDE-88A25025E51C}" srcId="{762EF590-160F-420F-9AE1-49883AA928AE}" destId="{EF64ACB9-1F7A-4916-B4F0-BE435D3742E4}" srcOrd="1" destOrd="0" parTransId="{A65B4E19-7F7C-4C62-B35B-D4DAE3E68C9D}" sibTransId="{1B521E7D-1B57-4291-BA29-03511A0F757D}"/>
    <dgm:cxn modelId="{69B60999-3DFA-4C76-9D29-0F276B37CBE0}" type="presParOf" srcId="{EB42CA00-9262-44E8-AADD-B06E5EF0DBCA}" destId="{7F244006-027F-47D1-985E-F9CC3A375B7B}" srcOrd="0" destOrd="0" presId="urn:microsoft.com/office/officeart/2005/8/layout/hierarchy5"/>
    <dgm:cxn modelId="{7A086D87-80A6-402C-B885-C158FB071EE4}" type="presParOf" srcId="{7F244006-027F-47D1-985E-F9CC3A375B7B}" destId="{BE7FA140-75F1-468B-8E1C-C2EF74552FF4}" srcOrd="0" destOrd="0" presId="urn:microsoft.com/office/officeart/2005/8/layout/hierarchy5"/>
    <dgm:cxn modelId="{745A4C33-5462-4A0B-A0AE-EBACD5CBDECA}" type="presParOf" srcId="{7F244006-027F-47D1-985E-F9CC3A375B7B}" destId="{CEE6A8FF-2F9B-4400-A062-A4077AE000FA}" srcOrd="1" destOrd="0" presId="urn:microsoft.com/office/officeart/2005/8/layout/hierarchy5"/>
    <dgm:cxn modelId="{2765D4D4-7536-4A9E-97FF-896ECAE6CEEB}" type="presParOf" srcId="{CEE6A8FF-2F9B-4400-A062-A4077AE000FA}" destId="{80AECA72-C954-43BD-901A-CD5E00F536AD}" srcOrd="0" destOrd="0" presId="urn:microsoft.com/office/officeart/2005/8/layout/hierarchy5"/>
    <dgm:cxn modelId="{8F5818C3-BCA1-424F-B882-B37AFC8F3CDE}" type="presParOf" srcId="{80AECA72-C954-43BD-901A-CD5E00F536AD}" destId="{F91660F9-9DA9-4BCC-BFF0-439EB06AE054}" srcOrd="0" destOrd="0" presId="urn:microsoft.com/office/officeart/2005/8/layout/hierarchy5"/>
    <dgm:cxn modelId="{F2CC3F21-FE20-4447-A349-FEA912FC5BF9}" type="presParOf" srcId="{80AECA72-C954-43BD-901A-CD5E00F536AD}" destId="{2E5DF35B-15FC-48E8-8946-1C41EDDA5DD4}" srcOrd="1" destOrd="0" presId="urn:microsoft.com/office/officeart/2005/8/layout/hierarchy5"/>
    <dgm:cxn modelId="{742FDFFC-C473-48EF-9877-0E2E5BB9FA28}" type="presParOf" srcId="{2E5DF35B-15FC-48E8-8946-1C41EDDA5DD4}" destId="{C6498F3A-E144-4EA7-8583-38A843F262DC}" srcOrd="0" destOrd="0" presId="urn:microsoft.com/office/officeart/2005/8/layout/hierarchy5"/>
    <dgm:cxn modelId="{6B174AED-D3EF-47D2-BA76-D4C632434283}" type="presParOf" srcId="{C6498F3A-E144-4EA7-8583-38A843F262DC}" destId="{245EF6D8-6C8D-4151-9528-206752E7FFA9}" srcOrd="0" destOrd="0" presId="urn:microsoft.com/office/officeart/2005/8/layout/hierarchy5"/>
    <dgm:cxn modelId="{31696796-FC51-4264-9A37-348505705837}" type="presParOf" srcId="{2E5DF35B-15FC-48E8-8946-1C41EDDA5DD4}" destId="{F0A850C1-0246-4FCD-BFCB-4C4618571A15}" srcOrd="1" destOrd="0" presId="urn:microsoft.com/office/officeart/2005/8/layout/hierarchy5"/>
    <dgm:cxn modelId="{E9A5BFB0-D45E-4A56-BB10-FC5C2580F109}" type="presParOf" srcId="{F0A850C1-0246-4FCD-BFCB-4C4618571A15}" destId="{9C373FCA-D79C-44D5-9300-9CFC761AA81C}" srcOrd="0" destOrd="0" presId="urn:microsoft.com/office/officeart/2005/8/layout/hierarchy5"/>
    <dgm:cxn modelId="{BF6F266B-D0CE-41D5-8F6A-D597ABD42D22}" type="presParOf" srcId="{F0A850C1-0246-4FCD-BFCB-4C4618571A15}" destId="{37311B4B-76CC-404A-A442-770C06213E2F}" srcOrd="1" destOrd="0" presId="urn:microsoft.com/office/officeart/2005/8/layout/hierarchy5"/>
    <dgm:cxn modelId="{DA01BA55-EC15-4A57-99E7-4F691EE0690A}" type="presParOf" srcId="{37311B4B-76CC-404A-A442-770C06213E2F}" destId="{2EFC976A-E189-42FD-A925-E7416E513E1E}" srcOrd="0" destOrd="0" presId="urn:microsoft.com/office/officeart/2005/8/layout/hierarchy5"/>
    <dgm:cxn modelId="{D4DA2AD0-7310-437E-8298-F28848C30CFE}" type="presParOf" srcId="{2EFC976A-E189-42FD-A925-E7416E513E1E}" destId="{A6B2D96E-6EE8-4A4F-B714-6C0D69619469}" srcOrd="0" destOrd="0" presId="urn:microsoft.com/office/officeart/2005/8/layout/hierarchy5"/>
    <dgm:cxn modelId="{7A6D20C0-0363-4BA2-B399-DF04CDF5D46D}" type="presParOf" srcId="{37311B4B-76CC-404A-A442-770C06213E2F}" destId="{7A40B749-5034-4B2D-B247-6FFA187F86CD}" srcOrd="1" destOrd="0" presId="urn:microsoft.com/office/officeart/2005/8/layout/hierarchy5"/>
    <dgm:cxn modelId="{E6DF60BB-EDE9-4D45-8ED0-B4D1D042A8B6}" type="presParOf" srcId="{7A40B749-5034-4B2D-B247-6FFA187F86CD}" destId="{1840529B-EB1A-49D8-A620-57054FC55365}" srcOrd="0" destOrd="0" presId="urn:microsoft.com/office/officeart/2005/8/layout/hierarchy5"/>
    <dgm:cxn modelId="{E4F637F3-193D-4208-95D9-87EE62F23541}" type="presParOf" srcId="{7A40B749-5034-4B2D-B247-6FFA187F86CD}" destId="{9955EA75-6B6E-4402-A2B6-DB8E7AF9E398}" srcOrd="1" destOrd="0" presId="urn:microsoft.com/office/officeart/2005/8/layout/hierarchy5"/>
    <dgm:cxn modelId="{C61F7C3A-6B7C-4A44-BB21-B07610C057EC}" type="presParOf" srcId="{37311B4B-76CC-404A-A442-770C06213E2F}" destId="{EA2AC298-4FCA-4294-BC88-19F8213F95AA}" srcOrd="2" destOrd="0" presId="urn:microsoft.com/office/officeart/2005/8/layout/hierarchy5"/>
    <dgm:cxn modelId="{EB2AE632-470F-48DA-858D-4AD52CD9F399}" type="presParOf" srcId="{EA2AC298-4FCA-4294-BC88-19F8213F95AA}" destId="{F214CB70-2EEE-4C6F-AB79-F4DD209A1D94}" srcOrd="0" destOrd="0" presId="urn:microsoft.com/office/officeart/2005/8/layout/hierarchy5"/>
    <dgm:cxn modelId="{92888D54-EF94-4CC3-A8A3-6EB2A68BE9CA}" type="presParOf" srcId="{37311B4B-76CC-404A-A442-770C06213E2F}" destId="{8384B978-D8AC-47D2-814D-3902F14E9744}" srcOrd="3" destOrd="0" presId="urn:microsoft.com/office/officeart/2005/8/layout/hierarchy5"/>
    <dgm:cxn modelId="{AAF8C1BA-B1F6-4C09-B5E3-58E0B71F70DE}" type="presParOf" srcId="{8384B978-D8AC-47D2-814D-3902F14E9744}" destId="{F8709A01-3DFB-4883-98F3-4DC7FD64DE07}" srcOrd="0" destOrd="0" presId="urn:microsoft.com/office/officeart/2005/8/layout/hierarchy5"/>
    <dgm:cxn modelId="{85E10BAD-6256-40AB-80DD-1531348D191A}" type="presParOf" srcId="{8384B978-D8AC-47D2-814D-3902F14E9744}" destId="{D9FAF300-E622-49C2-8A0F-978B44DADBCB}" srcOrd="1" destOrd="0" presId="urn:microsoft.com/office/officeart/2005/8/layout/hierarchy5"/>
    <dgm:cxn modelId="{7F3CD1A8-D475-457C-9930-84994FB95419}" type="presParOf" srcId="{2E5DF35B-15FC-48E8-8946-1C41EDDA5DD4}" destId="{523A4C08-7080-4828-80F7-6A0F00AE1C7F}" srcOrd="2" destOrd="0" presId="urn:microsoft.com/office/officeart/2005/8/layout/hierarchy5"/>
    <dgm:cxn modelId="{757CB4CB-5B27-4BA4-9296-18807FC41E79}" type="presParOf" srcId="{523A4C08-7080-4828-80F7-6A0F00AE1C7F}" destId="{F866B54B-7D2B-4255-B4FD-A24EDA994BEC}" srcOrd="0" destOrd="0" presId="urn:microsoft.com/office/officeart/2005/8/layout/hierarchy5"/>
    <dgm:cxn modelId="{4388F7D8-C148-4364-B286-28EAC2F95BF5}" type="presParOf" srcId="{2E5DF35B-15FC-48E8-8946-1C41EDDA5DD4}" destId="{9011B6F8-3A9C-4DCE-AFDD-D151276C3E0F}" srcOrd="3" destOrd="0" presId="urn:microsoft.com/office/officeart/2005/8/layout/hierarchy5"/>
    <dgm:cxn modelId="{3D595292-7046-4419-8D02-5ACF7240E584}" type="presParOf" srcId="{9011B6F8-3A9C-4DCE-AFDD-D151276C3E0F}" destId="{E85055A5-EC36-4AB2-8685-8F3F08926F97}" srcOrd="0" destOrd="0" presId="urn:microsoft.com/office/officeart/2005/8/layout/hierarchy5"/>
    <dgm:cxn modelId="{89E89864-1E71-4C85-B9B8-F93F5A7069CE}" type="presParOf" srcId="{9011B6F8-3A9C-4DCE-AFDD-D151276C3E0F}" destId="{479816AD-BEBF-407F-A0C2-E6006B095842}" srcOrd="1" destOrd="0" presId="urn:microsoft.com/office/officeart/2005/8/layout/hierarchy5"/>
    <dgm:cxn modelId="{9B942B42-21E2-41F0-BF73-3404DA9B933B}" type="presParOf" srcId="{479816AD-BEBF-407F-A0C2-E6006B095842}" destId="{BEF23B3C-1E16-4B1B-900D-FF2089EAAEC7}" srcOrd="0" destOrd="0" presId="urn:microsoft.com/office/officeart/2005/8/layout/hierarchy5"/>
    <dgm:cxn modelId="{EEADD73C-E409-4EA1-8CC4-3331A6F0336E}" type="presParOf" srcId="{BEF23B3C-1E16-4B1B-900D-FF2089EAAEC7}" destId="{AB40FE3E-1BE0-454B-B12E-81986E5CA37F}" srcOrd="0" destOrd="0" presId="urn:microsoft.com/office/officeart/2005/8/layout/hierarchy5"/>
    <dgm:cxn modelId="{D8C7927B-85DD-4873-AB6F-82AD22B7A5AF}" type="presParOf" srcId="{479816AD-BEBF-407F-A0C2-E6006B095842}" destId="{FEF2F18B-39BE-4FF2-B131-24FB44268A01}" srcOrd="1" destOrd="0" presId="urn:microsoft.com/office/officeart/2005/8/layout/hierarchy5"/>
    <dgm:cxn modelId="{5BE4870A-143A-4D2E-9473-79E7DEB473EE}" type="presParOf" srcId="{FEF2F18B-39BE-4FF2-B131-24FB44268A01}" destId="{93093E33-AEF4-4E37-907D-24E4BFAA5E21}" srcOrd="0" destOrd="0" presId="urn:microsoft.com/office/officeart/2005/8/layout/hierarchy5"/>
    <dgm:cxn modelId="{C9D9C1DE-93AC-4204-89EC-CF14577B2232}" type="presParOf" srcId="{FEF2F18B-39BE-4FF2-B131-24FB44268A01}" destId="{00A5A783-A31D-45A2-A4A5-FDFA05D194BD}" srcOrd="1" destOrd="0" presId="urn:microsoft.com/office/officeart/2005/8/layout/hierarchy5"/>
    <dgm:cxn modelId="{6F00F5A8-5303-48B4-BAAC-88A2AA72BADD}" type="presParOf" srcId="{EB42CA00-9262-44E8-AADD-B06E5EF0DBCA}" destId="{9262314E-B74D-488A-BDEB-7310280F9A07}" srcOrd="1" destOrd="0" presId="urn:microsoft.com/office/officeart/2005/8/layout/hierarchy5"/>
    <dgm:cxn modelId="{F22ABE5C-FE2F-480C-BE7C-73C9DE9A06A4}" type="presParOf" srcId="{9262314E-B74D-488A-BDEB-7310280F9A07}" destId="{88076520-6ECE-4B53-84C2-A2A868D49146}" srcOrd="0" destOrd="0" presId="urn:microsoft.com/office/officeart/2005/8/layout/hierarchy5"/>
    <dgm:cxn modelId="{9D3BB48F-1193-40B1-AD95-1092BFD5CD12}" type="presParOf" srcId="{88076520-6ECE-4B53-84C2-A2A868D49146}" destId="{D1EC4036-C7E1-44E0-AEA0-98FFB3FE7BB1}" srcOrd="0" destOrd="0" presId="urn:microsoft.com/office/officeart/2005/8/layout/hierarchy5"/>
    <dgm:cxn modelId="{2D6E8675-650A-4AFB-B333-D05B7D799C9A}" type="presParOf" srcId="{88076520-6ECE-4B53-84C2-A2A868D49146}" destId="{42A4B708-E792-4DCB-AF11-225DE7B0D727}" srcOrd="1" destOrd="0" presId="urn:microsoft.com/office/officeart/2005/8/layout/hierarchy5"/>
    <dgm:cxn modelId="{A04E8021-FED7-41C7-AF05-3B6D31CC8AE2}" type="presParOf" srcId="{9262314E-B74D-488A-BDEB-7310280F9A07}" destId="{E2D75C93-783D-41A6-AB62-D0815CA2316A}" srcOrd="1" destOrd="0" presId="urn:microsoft.com/office/officeart/2005/8/layout/hierarchy5"/>
    <dgm:cxn modelId="{4D7558ED-A1E9-49D8-99E4-B53B349D4813}" type="presParOf" srcId="{E2D75C93-783D-41A6-AB62-D0815CA2316A}" destId="{B0616FCE-F5EF-4774-B31D-C177C83C0C58}" srcOrd="0" destOrd="0" presId="urn:microsoft.com/office/officeart/2005/8/layout/hierarchy5"/>
    <dgm:cxn modelId="{3FD75CAD-A5B4-443D-87A9-121D3EC560D4}" type="presParOf" srcId="{9262314E-B74D-488A-BDEB-7310280F9A07}" destId="{74AA7978-E32D-41A4-A96F-6D6B16578A88}" srcOrd="2" destOrd="0" presId="urn:microsoft.com/office/officeart/2005/8/layout/hierarchy5"/>
    <dgm:cxn modelId="{A27A9E0F-1D3B-45DD-A353-CAACC4973859}" type="presParOf" srcId="{74AA7978-E32D-41A4-A96F-6D6B16578A88}" destId="{0D6F98C8-D1DE-4457-98E2-40DDFABA23EA}" srcOrd="0" destOrd="0" presId="urn:microsoft.com/office/officeart/2005/8/layout/hierarchy5"/>
    <dgm:cxn modelId="{11F8FF4D-BDDA-4854-A1DA-C59C9AB3BEA3}" type="presParOf" srcId="{74AA7978-E32D-41A4-A96F-6D6B16578A88}" destId="{CF33B9AF-8160-44F3-B1AB-1EE5DD83CE84}" srcOrd="1" destOrd="0" presId="urn:microsoft.com/office/officeart/2005/8/layout/hierarchy5"/>
    <dgm:cxn modelId="{4AFF127A-ED70-4146-A793-93C6AA7BE0BB}" type="presParOf" srcId="{9262314E-B74D-488A-BDEB-7310280F9A07}" destId="{5F43C73E-33FC-4930-8E01-3E9591634810}" srcOrd="3" destOrd="0" presId="urn:microsoft.com/office/officeart/2005/8/layout/hierarchy5"/>
    <dgm:cxn modelId="{6E916098-9070-47D8-A121-E75C14848B26}" type="presParOf" srcId="{5F43C73E-33FC-4930-8E01-3E9591634810}" destId="{E622DE46-3EAD-4FDB-91C2-CF945C261B12}" srcOrd="0" destOrd="0" presId="urn:microsoft.com/office/officeart/2005/8/layout/hierarchy5"/>
    <dgm:cxn modelId="{6EB5136F-8EEB-4578-948D-861F8B73CC77}" type="presParOf" srcId="{9262314E-B74D-488A-BDEB-7310280F9A07}" destId="{14E30126-8FD5-4CF3-8B05-70F7A1227F68}" srcOrd="4" destOrd="0" presId="urn:microsoft.com/office/officeart/2005/8/layout/hierarchy5"/>
    <dgm:cxn modelId="{A8C63A43-2A3E-4559-936C-7F0AAE8335DC}" type="presParOf" srcId="{14E30126-8FD5-4CF3-8B05-70F7A1227F68}" destId="{21241AFA-FCEE-4A6D-A14B-247E170E9E6D}" srcOrd="0" destOrd="0" presId="urn:microsoft.com/office/officeart/2005/8/layout/hierarchy5"/>
    <dgm:cxn modelId="{A5527034-5905-4E49-857D-75A57CBDE57E}" type="presParOf" srcId="{14E30126-8FD5-4CF3-8B05-70F7A1227F68}" destId="{CEF2B53F-F02F-4C5F-8AE7-07E4DFB6D25C}" srcOrd="1" destOrd="0" presId="urn:microsoft.com/office/officeart/2005/8/layout/hierarchy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97D089-C911-435A-92D4-FC075C87574E}">
      <dsp:nvSpPr>
        <dsp:cNvPr id="0" name=""/>
        <dsp:cNvSpPr/>
      </dsp:nvSpPr>
      <dsp:spPr>
        <a:xfrm>
          <a:off x="4289094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Del-prosjekt</a:t>
          </a:r>
          <a:endParaRPr lang="nb-NO" sz="2500" kern="1200"/>
        </a:p>
      </dsp:txBody>
      <dsp:txXfrm>
        <a:off x="4289094" y="0"/>
        <a:ext cx="1278194" cy="1078147"/>
      </dsp:txXfrm>
    </dsp:sp>
    <dsp:sp modelId="{31FCEB4A-D007-4636-8AFC-FBF64741107A}">
      <dsp:nvSpPr>
        <dsp:cNvPr id="0" name=""/>
        <dsp:cNvSpPr/>
      </dsp:nvSpPr>
      <dsp:spPr>
        <a:xfrm>
          <a:off x="2797867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Aktivitet</a:t>
          </a:r>
          <a:endParaRPr lang="nb-NO" sz="2500" kern="1200"/>
        </a:p>
      </dsp:txBody>
      <dsp:txXfrm>
        <a:off x="2797867" y="0"/>
        <a:ext cx="1278194" cy="1078147"/>
      </dsp:txXfrm>
    </dsp:sp>
    <dsp:sp modelId="{9CA81732-F4CE-49F5-ABCC-BC29C9215BD6}">
      <dsp:nvSpPr>
        <dsp:cNvPr id="0" name=""/>
        <dsp:cNvSpPr/>
      </dsp:nvSpPr>
      <dsp:spPr>
        <a:xfrm>
          <a:off x="1306641" y="0"/>
          <a:ext cx="1278194" cy="35938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/>
            <a:t>Aktivitets-type</a:t>
          </a:r>
        </a:p>
      </dsp:txBody>
      <dsp:txXfrm>
        <a:off x="1306641" y="0"/>
        <a:ext cx="1278194" cy="1078147"/>
      </dsp:txXfrm>
    </dsp:sp>
    <dsp:sp modelId="{C3192294-998D-4925-9864-0F5493BE1276}">
      <dsp:nvSpPr>
        <dsp:cNvPr id="0" name=""/>
        <dsp:cNvSpPr/>
      </dsp:nvSpPr>
      <dsp:spPr>
        <a:xfrm>
          <a:off x="1413157" y="1997819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RD  Driftsaktivitet</a:t>
          </a:r>
        </a:p>
      </dsp:txBody>
      <dsp:txXfrm>
        <a:off x="1428756" y="2013418"/>
        <a:ext cx="1033963" cy="501382"/>
      </dsp:txXfrm>
    </dsp:sp>
    <dsp:sp modelId="{4F6071C6-F078-47E7-8D9C-C4776B9A3707}">
      <dsp:nvSpPr>
        <dsp:cNvPr id="0" name=""/>
        <dsp:cNvSpPr/>
      </dsp:nvSpPr>
      <dsp:spPr>
        <a:xfrm rot="18289469">
          <a:off x="2318307" y="1944538"/>
          <a:ext cx="746088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6088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672699" y="1939223"/>
        <a:ext cx="37304" cy="37304"/>
      </dsp:txXfrm>
    </dsp:sp>
    <dsp:sp modelId="{49D2DD1B-CA1F-4F15-ADAB-D4B4C0956D97}">
      <dsp:nvSpPr>
        <dsp:cNvPr id="0" name=""/>
        <dsp:cNvSpPr/>
      </dsp:nvSpPr>
      <dsp:spPr>
        <a:xfrm>
          <a:off x="2904384" y="1385351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b="0" i="0" u="none" strike="noStrike" kern="1200">
              <a:solidFill>
                <a:schemeClr val="bg1"/>
              </a:solidFill>
              <a:effectLst/>
              <a:latin typeface="Calibri" panose="020F0502020204030204" pitchFamily="34" charset="0"/>
            </a:rPr>
            <a:t>Forskningsdrift individuelle midler </a:t>
          </a:r>
          <a:endParaRPr lang="nb-NO" sz="1100" kern="1200">
            <a:solidFill>
              <a:schemeClr val="bg1"/>
            </a:solidFill>
          </a:endParaRPr>
        </a:p>
      </dsp:txBody>
      <dsp:txXfrm>
        <a:off x="2919983" y="1400950"/>
        <a:ext cx="1033963" cy="501382"/>
      </dsp:txXfrm>
    </dsp:sp>
    <dsp:sp modelId="{2CB91D52-C587-411B-BD9B-5F90512EC0A5}">
      <dsp:nvSpPr>
        <dsp:cNvPr id="0" name=""/>
        <dsp:cNvSpPr/>
      </dsp:nvSpPr>
      <dsp:spPr>
        <a:xfrm rot="19457599">
          <a:off x="3920228" y="1485187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169460" y="1485407"/>
        <a:ext cx="26235" cy="26235"/>
      </dsp:txXfrm>
    </dsp:sp>
    <dsp:sp modelId="{0FA3EC30-89E8-470B-894E-5CCFD268F390}">
      <dsp:nvSpPr>
        <dsp:cNvPr id="0" name=""/>
        <dsp:cNvSpPr/>
      </dsp:nvSpPr>
      <dsp:spPr>
        <a:xfrm>
          <a:off x="4395610" y="1079117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Professor A</a:t>
          </a:r>
        </a:p>
      </dsp:txBody>
      <dsp:txXfrm>
        <a:off x="4411209" y="1094716"/>
        <a:ext cx="1033963" cy="501382"/>
      </dsp:txXfrm>
    </dsp:sp>
    <dsp:sp modelId="{F96D3184-A955-46BA-A339-C7B85E4457D6}">
      <dsp:nvSpPr>
        <dsp:cNvPr id="0" name=""/>
        <dsp:cNvSpPr/>
      </dsp:nvSpPr>
      <dsp:spPr>
        <a:xfrm rot="2142401">
          <a:off x="3920228" y="1791421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169460" y="1791641"/>
        <a:ext cx="26235" cy="26235"/>
      </dsp:txXfrm>
    </dsp:sp>
    <dsp:sp modelId="{2F44E76B-3C5E-49FF-AE6D-361C15F6FCCC}">
      <dsp:nvSpPr>
        <dsp:cNvPr id="0" name=""/>
        <dsp:cNvSpPr/>
      </dsp:nvSpPr>
      <dsp:spPr>
        <a:xfrm>
          <a:off x="4395610" y="1691585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Professor B</a:t>
          </a:r>
        </a:p>
      </dsp:txBody>
      <dsp:txXfrm>
        <a:off x="4411209" y="1707184"/>
        <a:ext cx="1033963" cy="501382"/>
      </dsp:txXfrm>
    </dsp:sp>
    <dsp:sp modelId="{D952A7BA-142D-442A-B0EC-EE0F5C3A2EA7}">
      <dsp:nvSpPr>
        <dsp:cNvPr id="0" name=""/>
        <dsp:cNvSpPr/>
      </dsp:nvSpPr>
      <dsp:spPr>
        <a:xfrm rot="3310531">
          <a:off x="2318307" y="2557006"/>
          <a:ext cx="746088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746088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672699" y="2551691"/>
        <a:ext cx="37304" cy="37304"/>
      </dsp:txXfrm>
    </dsp:sp>
    <dsp:sp modelId="{0A706720-153F-4523-B184-1EF51C7B08F5}">
      <dsp:nvSpPr>
        <dsp:cNvPr id="0" name=""/>
        <dsp:cNvSpPr/>
      </dsp:nvSpPr>
      <dsp:spPr>
        <a:xfrm>
          <a:off x="2904384" y="2610287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vestering infrastruktur</a:t>
          </a:r>
        </a:p>
      </dsp:txBody>
      <dsp:txXfrm>
        <a:off x="2919983" y="2625886"/>
        <a:ext cx="1033963" cy="501382"/>
      </dsp:txXfrm>
    </dsp:sp>
    <dsp:sp modelId="{0B689192-EC09-4763-9F85-152FABC18087}">
      <dsp:nvSpPr>
        <dsp:cNvPr id="0" name=""/>
        <dsp:cNvSpPr/>
      </dsp:nvSpPr>
      <dsp:spPr>
        <a:xfrm rot="19457599">
          <a:off x="3920228" y="2710123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169460" y="2710343"/>
        <a:ext cx="26235" cy="26235"/>
      </dsp:txXfrm>
    </dsp:sp>
    <dsp:sp modelId="{B34CC6B2-F808-48C8-8364-330E8A2E707D}">
      <dsp:nvSpPr>
        <dsp:cNvPr id="0" name=""/>
        <dsp:cNvSpPr/>
      </dsp:nvSpPr>
      <dsp:spPr>
        <a:xfrm>
          <a:off x="4395610" y="2304053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strument </a:t>
          </a:r>
          <a:r>
            <a:rPr lang="nb-NO" sz="1100" kern="1200" err="1"/>
            <a:t>X</a:t>
          </a:r>
          <a:endParaRPr lang="nb-NO" sz="1100" kern="1200"/>
        </a:p>
      </dsp:txBody>
      <dsp:txXfrm>
        <a:off x="4411209" y="2319652"/>
        <a:ext cx="1033963" cy="501382"/>
      </dsp:txXfrm>
    </dsp:sp>
    <dsp:sp modelId="{61C43142-90FB-4BDD-AF70-BB606AE83217}">
      <dsp:nvSpPr>
        <dsp:cNvPr id="0" name=""/>
        <dsp:cNvSpPr/>
      </dsp:nvSpPr>
      <dsp:spPr>
        <a:xfrm rot="2142401">
          <a:off x="3920228" y="3016357"/>
          <a:ext cx="524700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524700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169460" y="3016577"/>
        <a:ext cx="26235" cy="26235"/>
      </dsp:txXfrm>
    </dsp:sp>
    <dsp:sp modelId="{A669329B-D9E2-4CC5-A0CA-FCADDB16A5EA}">
      <dsp:nvSpPr>
        <dsp:cNvPr id="0" name=""/>
        <dsp:cNvSpPr/>
      </dsp:nvSpPr>
      <dsp:spPr>
        <a:xfrm>
          <a:off x="4395610" y="2916521"/>
          <a:ext cx="1065161" cy="5325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Instrument Y</a:t>
          </a:r>
        </a:p>
      </dsp:txBody>
      <dsp:txXfrm>
        <a:off x="4411209" y="2932120"/>
        <a:ext cx="1033963" cy="50138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4082351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4082351" y="0"/>
        <a:ext cx="1649156" cy="1391051"/>
      </dsp:txXfrm>
    </dsp:sp>
    <dsp:sp modelId="{0B8BEE4E-FC0A-4A09-B691-27C27CC983DC}">
      <dsp:nvSpPr>
        <dsp:cNvPr id="0" name=""/>
        <dsp:cNvSpPr/>
      </dsp:nvSpPr>
      <dsp:spPr>
        <a:xfrm>
          <a:off x="2171034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2171034" y="0"/>
        <a:ext cx="1649156" cy="1391051"/>
      </dsp:txXfrm>
    </dsp:sp>
    <dsp:sp modelId="{DE0BB14A-D822-4924-851B-90EB2A42887E}">
      <dsp:nvSpPr>
        <dsp:cNvPr id="0" name=""/>
        <dsp:cNvSpPr/>
      </dsp:nvSpPr>
      <dsp:spPr>
        <a:xfrm>
          <a:off x="247017" y="0"/>
          <a:ext cx="1649156" cy="463683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247017" y="0"/>
        <a:ext cx="1649156" cy="1391051"/>
      </dsp:txXfrm>
    </dsp:sp>
    <dsp:sp modelId="{5012B746-0349-4B19-9E33-5C3D2C33AB46}">
      <dsp:nvSpPr>
        <dsp:cNvPr id="0" name=""/>
        <dsp:cNvSpPr/>
      </dsp:nvSpPr>
      <dsp:spPr>
        <a:xfrm>
          <a:off x="384447" y="2577634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Masterprogram</a:t>
          </a:r>
        </a:p>
      </dsp:txBody>
      <dsp:txXfrm>
        <a:off x="404573" y="2597760"/>
        <a:ext cx="1334045" cy="646896"/>
      </dsp:txXfrm>
    </dsp:sp>
    <dsp:sp modelId="{180A2268-9D56-4367-AE95-60B65D91DC09}">
      <dsp:nvSpPr>
        <dsp:cNvPr id="0" name=""/>
        <dsp:cNvSpPr/>
      </dsp:nvSpPr>
      <dsp:spPr>
        <a:xfrm rot="18289469">
          <a:off x="1552293" y="2512760"/>
          <a:ext cx="96262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962621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2009538" y="2502032"/>
        <a:ext cx="48131" cy="48131"/>
      </dsp:txXfrm>
    </dsp:sp>
    <dsp:sp modelId="{EA92C18B-A05D-4FF7-A971-9D693147883D}">
      <dsp:nvSpPr>
        <dsp:cNvPr id="0" name=""/>
        <dsp:cNvSpPr/>
      </dsp:nvSpPr>
      <dsp:spPr>
        <a:xfrm>
          <a:off x="2308463" y="1787413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333333 Master </a:t>
          </a:r>
          <a:r>
            <a:rPr lang="nb-NO" sz="1400" kern="1200" err="1"/>
            <a:t>fysio</a:t>
          </a:r>
          <a:endParaRPr lang="nb-NO" sz="1400" kern="1200"/>
        </a:p>
      </dsp:txBody>
      <dsp:txXfrm>
        <a:off x="2328589" y="1807539"/>
        <a:ext cx="1334045" cy="646896"/>
      </dsp:txXfrm>
    </dsp:sp>
    <dsp:sp modelId="{F29163B2-DA60-41EE-9C93-E9474EB4DAAD}">
      <dsp:nvSpPr>
        <dsp:cNvPr id="0" name=""/>
        <dsp:cNvSpPr/>
      </dsp:nvSpPr>
      <dsp:spPr>
        <a:xfrm rot="19457599">
          <a:off x="3619130" y="1920094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940696" y="1916507"/>
        <a:ext cx="33849" cy="33849"/>
      </dsp:txXfrm>
    </dsp:sp>
    <dsp:sp modelId="{A43CB7CD-31FF-4102-8F6D-F6155D21BFC6}">
      <dsp:nvSpPr>
        <dsp:cNvPr id="0" name=""/>
        <dsp:cNvSpPr/>
      </dsp:nvSpPr>
      <dsp:spPr>
        <a:xfrm>
          <a:off x="4232480" y="1392302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333333001 Masterstudent XX</a:t>
          </a:r>
        </a:p>
      </dsp:txBody>
      <dsp:txXfrm>
        <a:off x="4252606" y="1412428"/>
        <a:ext cx="1334045" cy="646896"/>
      </dsp:txXfrm>
    </dsp:sp>
    <dsp:sp modelId="{8CF9F0B5-AAFC-48F5-807D-1EFFF15F2E69}">
      <dsp:nvSpPr>
        <dsp:cNvPr id="0" name=""/>
        <dsp:cNvSpPr/>
      </dsp:nvSpPr>
      <dsp:spPr>
        <a:xfrm rot="2142401">
          <a:off x="3619130" y="2315205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940696" y="2311618"/>
        <a:ext cx="33849" cy="33849"/>
      </dsp:txXfrm>
    </dsp:sp>
    <dsp:sp modelId="{F11B34D1-E246-4446-AAC6-E4A36B85FF12}">
      <dsp:nvSpPr>
        <dsp:cNvPr id="0" name=""/>
        <dsp:cNvSpPr/>
      </dsp:nvSpPr>
      <dsp:spPr>
        <a:xfrm>
          <a:off x="4232480" y="2182523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333333002 Masterstudent YY</a:t>
          </a:r>
        </a:p>
      </dsp:txBody>
      <dsp:txXfrm>
        <a:off x="4252606" y="2202649"/>
        <a:ext cx="1334045" cy="646896"/>
      </dsp:txXfrm>
    </dsp:sp>
    <dsp:sp modelId="{D5BE51A4-22A1-45A6-BAEB-5092DC5DEE49}">
      <dsp:nvSpPr>
        <dsp:cNvPr id="0" name=""/>
        <dsp:cNvSpPr/>
      </dsp:nvSpPr>
      <dsp:spPr>
        <a:xfrm rot="3310531">
          <a:off x="1552293" y="3302981"/>
          <a:ext cx="96262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962621" y="133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2009538" y="3292253"/>
        <a:ext cx="48131" cy="48131"/>
      </dsp:txXfrm>
    </dsp:sp>
    <dsp:sp modelId="{ABCA2AB5-31E5-4A60-855A-972D94E84372}">
      <dsp:nvSpPr>
        <dsp:cNvPr id="0" name=""/>
        <dsp:cNvSpPr/>
      </dsp:nvSpPr>
      <dsp:spPr>
        <a:xfrm>
          <a:off x="2308463" y="3367855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444444 Master </a:t>
          </a:r>
          <a:r>
            <a:rPr lang="nb-NO" sz="1400" kern="1200" err="1"/>
            <a:t>nevro</a:t>
          </a:r>
          <a:endParaRPr lang="nb-NO" sz="1400" kern="1200"/>
        </a:p>
      </dsp:txBody>
      <dsp:txXfrm>
        <a:off x="2328589" y="3387981"/>
        <a:ext cx="1334045" cy="646896"/>
      </dsp:txXfrm>
    </dsp:sp>
    <dsp:sp modelId="{77150375-35D9-4E8A-A191-228EB82C5D21}">
      <dsp:nvSpPr>
        <dsp:cNvPr id="0" name=""/>
        <dsp:cNvSpPr/>
      </dsp:nvSpPr>
      <dsp:spPr>
        <a:xfrm rot="19457599">
          <a:off x="3619130" y="3500536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940696" y="3496949"/>
        <a:ext cx="33849" cy="33849"/>
      </dsp:txXfrm>
    </dsp:sp>
    <dsp:sp modelId="{19082A1C-C158-4088-BFF4-A000F078F443}">
      <dsp:nvSpPr>
        <dsp:cNvPr id="0" name=""/>
        <dsp:cNvSpPr/>
      </dsp:nvSpPr>
      <dsp:spPr>
        <a:xfrm>
          <a:off x="4232480" y="2972744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44444401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Generell drift</a:t>
          </a:r>
        </a:p>
      </dsp:txBody>
      <dsp:txXfrm>
        <a:off x="4252606" y="2992870"/>
        <a:ext cx="1334045" cy="646896"/>
      </dsp:txXfrm>
    </dsp:sp>
    <dsp:sp modelId="{3728E5FB-7008-4FE2-9F6A-F1B7B9038021}">
      <dsp:nvSpPr>
        <dsp:cNvPr id="0" name=""/>
        <dsp:cNvSpPr/>
      </dsp:nvSpPr>
      <dsp:spPr>
        <a:xfrm rot="2142401">
          <a:off x="3619130" y="3895647"/>
          <a:ext cx="676981" cy="26674"/>
        </a:xfrm>
        <a:custGeom>
          <a:avLst/>
          <a:gdLst/>
          <a:ahLst/>
          <a:cxnLst/>
          <a:rect l="0" t="0" r="0" b="0"/>
          <a:pathLst>
            <a:path>
              <a:moveTo>
                <a:pt x="0" y="13337"/>
              </a:moveTo>
              <a:lnTo>
                <a:pt x="676981" y="1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940696" y="3892060"/>
        <a:ext cx="33849" cy="33849"/>
      </dsp:txXfrm>
    </dsp:sp>
    <dsp:sp modelId="{5DCD88EE-F40B-4799-82E8-C29E501B3021}">
      <dsp:nvSpPr>
        <dsp:cNvPr id="0" name=""/>
        <dsp:cNvSpPr/>
      </dsp:nvSpPr>
      <dsp:spPr>
        <a:xfrm>
          <a:off x="4232480" y="3762965"/>
          <a:ext cx="1374297" cy="6871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nvestering simulering</a:t>
          </a:r>
        </a:p>
      </dsp:txBody>
      <dsp:txXfrm>
        <a:off x="4252606" y="3783091"/>
        <a:ext cx="1334045" cy="6468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821691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3821691" y="0"/>
        <a:ext cx="1641611" cy="703376"/>
      </dsp:txXfrm>
    </dsp:sp>
    <dsp:sp modelId="{0B8BEE4E-FC0A-4A09-B691-27C27CC983DC}">
      <dsp:nvSpPr>
        <dsp:cNvPr id="0" name=""/>
        <dsp:cNvSpPr/>
      </dsp:nvSpPr>
      <dsp:spPr>
        <a:xfrm>
          <a:off x="1917506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1917506" y="0"/>
        <a:ext cx="1641611" cy="703376"/>
      </dsp:txXfrm>
    </dsp:sp>
    <dsp:sp modelId="{DE0BB14A-D822-4924-851B-90EB2A42887E}">
      <dsp:nvSpPr>
        <dsp:cNvPr id="0" name=""/>
        <dsp:cNvSpPr/>
      </dsp:nvSpPr>
      <dsp:spPr>
        <a:xfrm>
          <a:off x="680" y="0"/>
          <a:ext cx="1641611" cy="234458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680" y="0"/>
        <a:ext cx="1641611" cy="703376"/>
      </dsp:txXfrm>
    </dsp:sp>
    <dsp:sp modelId="{5012B746-0349-4B19-9E33-5C3D2C33AB46}">
      <dsp:nvSpPr>
        <dsp:cNvPr id="0" name=""/>
        <dsp:cNvSpPr/>
      </dsp:nvSpPr>
      <dsp:spPr>
        <a:xfrm>
          <a:off x="138287" y="1133073"/>
          <a:ext cx="1376072" cy="688036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kke aktuell</a:t>
          </a:r>
        </a:p>
      </dsp:txBody>
      <dsp:txXfrm>
        <a:off x="158439" y="1153225"/>
        <a:ext cx="1335768" cy="647732"/>
      </dsp:txXfrm>
    </dsp:sp>
    <dsp:sp modelId="{180A2268-9D56-4367-AE95-60B65D91DC09}">
      <dsp:nvSpPr>
        <dsp:cNvPr id="0" name=""/>
        <dsp:cNvSpPr/>
      </dsp:nvSpPr>
      <dsp:spPr>
        <a:xfrm>
          <a:off x="1514360" y="1450679"/>
          <a:ext cx="550428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550428" y="264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775813" y="1463330"/>
        <a:ext cx="27521" cy="27521"/>
      </dsp:txXfrm>
    </dsp:sp>
    <dsp:sp modelId="{EA92C18B-A05D-4FF7-A971-9D693147883D}">
      <dsp:nvSpPr>
        <dsp:cNvPr id="0" name=""/>
        <dsp:cNvSpPr/>
      </dsp:nvSpPr>
      <dsp:spPr>
        <a:xfrm>
          <a:off x="2064789" y="1133073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222222 Studieprogram</a:t>
          </a:r>
        </a:p>
      </dsp:txBody>
      <dsp:txXfrm>
        <a:off x="2084941" y="1153225"/>
        <a:ext cx="1335768" cy="647732"/>
      </dsp:txXfrm>
    </dsp:sp>
    <dsp:sp modelId="{F29163B2-DA60-41EE-9C93-E9474EB4DAAD}">
      <dsp:nvSpPr>
        <dsp:cNvPr id="0" name=""/>
        <dsp:cNvSpPr/>
      </dsp:nvSpPr>
      <dsp:spPr>
        <a:xfrm rot="19457599">
          <a:off x="3377148" y="1252869"/>
          <a:ext cx="677855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677855" y="264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699129" y="1262334"/>
        <a:ext cx="33892" cy="33892"/>
      </dsp:txXfrm>
    </dsp:sp>
    <dsp:sp modelId="{A43CB7CD-31FF-4102-8F6D-F6155D21BFC6}">
      <dsp:nvSpPr>
        <dsp:cNvPr id="0" name=""/>
        <dsp:cNvSpPr/>
      </dsp:nvSpPr>
      <dsp:spPr>
        <a:xfrm>
          <a:off x="3991290" y="737452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222222001 Læringsareal</a:t>
          </a:r>
        </a:p>
      </dsp:txBody>
      <dsp:txXfrm>
        <a:off x="4011442" y="757604"/>
        <a:ext cx="1335768" cy="647732"/>
      </dsp:txXfrm>
    </dsp:sp>
    <dsp:sp modelId="{8CF9F0B5-AAFC-48F5-807D-1EFFF15F2E69}">
      <dsp:nvSpPr>
        <dsp:cNvPr id="0" name=""/>
        <dsp:cNvSpPr/>
      </dsp:nvSpPr>
      <dsp:spPr>
        <a:xfrm rot="2142401">
          <a:off x="3377148" y="1648490"/>
          <a:ext cx="677855" cy="52822"/>
        </a:xfrm>
        <a:custGeom>
          <a:avLst/>
          <a:gdLst/>
          <a:ahLst/>
          <a:cxnLst/>
          <a:rect l="0" t="0" r="0" b="0"/>
          <a:pathLst>
            <a:path>
              <a:moveTo>
                <a:pt x="0" y="26411"/>
              </a:moveTo>
              <a:lnTo>
                <a:pt x="677855" y="264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699129" y="1657955"/>
        <a:ext cx="33892" cy="33892"/>
      </dsp:txXfrm>
    </dsp:sp>
    <dsp:sp modelId="{F11B34D1-E246-4446-AAC6-E4A36B85FF12}">
      <dsp:nvSpPr>
        <dsp:cNvPr id="0" name=""/>
        <dsp:cNvSpPr/>
      </dsp:nvSpPr>
      <dsp:spPr>
        <a:xfrm>
          <a:off x="3991290" y="1528693"/>
          <a:ext cx="1376072" cy="68803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222222002 Generell </a:t>
          </a:r>
          <a:r>
            <a:rPr lang="nb-NO" sz="1400" kern="1200" dirty="0" err="1"/>
            <a:t>utd.drift</a:t>
          </a:r>
          <a:endParaRPr lang="nb-NO" sz="1400" kern="1200" dirty="0"/>
        </a:p>
      </dsp:txBody>
      <dsp:txXfrm>
        <a:off x="4011442" y="1548845"/>
        <a:ext cx="1335768" cy="64773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F398EA-68C9-4C2E-BBBA-5E8CCBFD24D7}">
      <dsp:nvSpPr>
        <dsp:cNvPr id="0" name=""/>
        <dsp:cNvSpPr/>
      </dsp:nvSpPr>
      <dsp:spPr>
        <a:xfrm>
          <a:off x="3821732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Delprosjekt</a:t>
          </a:r>
        </a:p>
      </dsp:txBody>
      <dsp:txXfrm>
        <a:off x="3821732" y="0"/>
        <a:ext cx="1641672" cy="559927"/>
      </dsp:txXfrm>
    </dsp:sp>
    <dsp:sp modelId="{0B8BEE4E-FC0A-4A09-B691-27C27CC983DC}">
      <dsp:nvSpPr>
        <dsp:cNvPr id="0" name=""/>
        <dsp:cNvSpPr/>
      </dsp:nvSpPr>
      <dsp:spPr>
        <a:xfrm>
          <a:off x="1917475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Prosjekt</a:t>
          </a:r>
        </a:p>
      </dsp:txBody>
      <dsp:txXfrm>
        <a:off x="1917475" y="0"/>
        <a:ext cx="1641672" cy="559927"/>
      </dsp:txXfrm>
    </dsp:sp>
    <dsp:sp modelId="{DE0BB14A-D822-4924-851B-90EB2A42887E}">
      <dsp:nvSpPr>
        <dsp:cNvPr id="0" name=""/>
        <dsp:cNvSpPr/>
      </dsp:nvSpPr>
      <dsp:spPr>
        <a:xfrm>
          <a:off x="578" y="0"/>
          <a:ext cx="1641672" cy="1866425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/>
            <a:t>Hovedprosjekt</a:t>
          </a:r>
        </a:p>
      </dsp:txBody>
      <dsp:txXfrm>
        <a:off x="578" y="0"/>
        <a:ext cx="1641672" cy="559927"/>
      </dsp:txXfrm>
    </dsp:sp>
    <dsp:sp modelId="{5012B746-0349-4B19-9E33-5C3D2C33AB46}">
      <dsp:nvSpPr>
        <dsp:cNvPr id="0" name=""/>
        <dsp:cNvSpPr/>
      </dsp:nvSpPr>
      <dsp:spPr>
        <a:xfrm>
          <a:off x="138190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kke aktuell</a:t>
          </a:r>
        </a:p>
      </dsp:txBody>
      <dsp:txXfrm>
        <a:off x="158343" y="851969"/>
        <a:ext cx="1335817" cy="647755"/>
      </dsp:txXfrm>
    </dsp:sp>
    <dsp:sp modelId="{180A2268-9D56-4367-AE95-60B65D91DC09}">
      <dsp:nvSpPr>
        <dsp:cNvPr id="0" name=""/>
        <dsp:cNvSpPr/>
      </dsp:nvSpPr>
      <dsp:spPr>
        <a:xfrm>
          <a:off x="1514314" y="1142669"/>
          <a:ext cx="550449" cy="66357"/>
        </a:xfrm>
        <a:custGeom>
          <a:avLst/>
          <a:gdLst/>
          <a:ahLst/>
          <a:cxnLst/>
          <a:rect l="0" t="0" r="0" b="0"/>
          <a:pathLst>
            <a:path>
              <a:moveTo>
                <a:pt x="0" y="33178"/>
              </a:moveTo>
              <a:lnTo>
                <a:pt x="550449" y="3317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1775777" y="1162086"/>
        <a:ext cx="27522" cy="27522"/>
      </dsp:txXfrm>
    </dsp:sp>
    <dsp:sp modelId="{EA92C18B-A05D-4FF7-A971-9D693147883D}">
      <dsp:nvSpPr>
        <dsp:cNvPr id="0" name=""/>
        <dsp:cNvSpPr/>
      </dsp:nvSpPr>
      <dsp:spPr>
        <a:xfrm>
          <a:off x="2064763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accent3">
              <a:shade val="50000"/>
            </a:schemeClr>
          </a:solidFill>
          <a:prstDash val="solid"/>
          <a:miter lim="800000"/>
        </a:ln>
        <a:effectLst/>
      </dsp:spPr>
      <dsp:style>
        <a:lnRef idx="2">
          <a:schemeClr val="accent3">
            <a:shade val="50000"/>
          </a:schemeClr>
        </a:lnRef>
        <a:fillRef idx="1">
          <a:schemeClr val="accent3"/>
        </a:fillRef>
        <a:effectRef idx="0">
          <a:schemeClr val="accent3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Ikke aktuell/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111111 Ommøblering EPT</a:t>
          </a:r>
        </a:p>
      </dsp:txBody>
      <dsp:txXfrm>
        <a:off x="2084916" y="851969"/>
        <a:ext cx="1335817" cy="647755"/>
      </dsp:txXfrm>
    </dsp:sp>
    <dsp:sp modelId="{F29163B2-DA60-41EE-9C93-E9474EB4DAAD}">
      <dsp:nvSpPr>
        <dsp:cNvPr id="0" name=""/>
        <dsp:cNvSpPr/>
      </dsp:nvSpPr>
      <dsp:spPr>
        <a:xfrm>
          <a:off x="3440887" y="1142669"/>
          <a:ext cx="550449" cy="66357"/>
        </a:xfrm>
        <a:custGeom>
          <a:avLst/>
          <a:gdLst/>
          <a:ahLst/>
          <a:cxnLst/>
          <a:rect l="0" t="0" r="0" b="0"/>
          <a:pathLst>
            <a:path>
              <a:moveTo>
                <a:pt x="0" y="33178"/>
              </a:moveTo>
              <a:lnTo>
                <a:pt x="550449" y="3317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00" kern="1200"/>
        </a:p>
      </dsp:txBody>
      <dsp:txXfrm>
        <a:off x="3702351" y="1162086"/>
        <a:ext cx="27522" cy="27522"/>
      </dsp:txXfrm>
    </dsp:sp>
    <dsp:sp modelId="{A43CB7CD-31FF-4102-8F6D-F6155D21BFC6}">
      <dsp:nvSpPr>
        <dsp:cNvPr id="0" name=""/>
        <dsp:cNvSpPr/>
      </dsp:nvSpPr>
      <dsp:spPr>
        <a:xfrm>
          <a:off x="3991337" y="831816"/>
          <a:ext cx="1376123" cy="6880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111111001 Ommøblering EPT</a:t>
          </a:r>
        </a:p>
      </dsp:txBody>
      <dsp:txXfrm>
        <a:off x="4011490" y="851969"/>
        <a:ext cx="1335817" cy="6477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25EE1B-E91C-4724-B4AB-1F97ED02D5AA}">
      <dsp:nvSpPr>
        <dsp:cNvPr id="0" name=""/>
        <dsp:cNvSpPr/>
      </dsp:nvSpPr>
      <dsp:spPr>
        <a:xfrm>
          <a:off x="3607141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Arbeidspakke</a:t>
          </a:r>
        </a:p>
      </dsp:txBody>
      <dsp:txXfrm>
        <a:off x="3607141" y="0"/>
        <a:ext cx="939508" cy="1225550"/>
      </dsp:txXfrm>
    </dsp:sp>
    <dsp:sp modelId="{21241AFA-FCEE-4A6D-A14B-247E170E9E6D}">
      <dsp:nvSpPr>
        <dsp:cNvPr id="0" name=""/>
        <dsp:cNvSpPr/>
      </dsp:nvSpPr>
      <dsp:spPr>
        <a:xfrm>
          <a:off x="2511048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Delprosjekt</a:t>
          </a:r>
        </a:p>
      </dsp:txBody>
      <dsp:txXfrm>
        <a:off x="2511048" y="0"/>
        <a:ext cx="939508" cy="1225550"/>
      </dsp:txXfrm>
    </dsp:sp>
    <dsp:sp modelId="{0D6F98C8-D1DE-4457-98E2-40DDFABA23EA}">
      <dsp:nvSpPr>
        <dsp:cNvPr id="0" name=""/>
        <dsp:cNvSpPr/>
      </dsp:nvSpPr>
      <dsp:spPr>
        <a:xfrm>
          <a:off x="1414954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Prosjekt</a:t>
          </a:r>
        </a:p>
      </dsp:txBody>
      <dsp:txXfrm>
        <a:off x="1414954" y="0"/>
        <a:ext cx="939508" cy="1225550"/>
      </dsp:txXfrm>
    </dsp:sp>
    <dsp:sp modelId="{D1EC4036-C7E1-44E0-AEA0-98FFB3FE7BB1}">
      <dsp:nvSpPr>
        <dsp:cNvPr id="0" name=""/>
        <dsp:cNvSpPr/>
      </dsp:nvSpPr>
      <dsp:spPr>
        <a:xfrm>
          <a:off x="318861" y="0"/>
          <a:ext cx="939508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Hovedprosjekt</a:t>
          </a:r>
        </a:p>
      </dsp:txBody>
      <dsp:txXfrm>
        <a:off x="318861" y="0"/>
        <a:ext cx="939508" cy="1225550"/>
      </dsp:txXfrm>
    </dsp:sp>
    <dsp:sp modelId="{F91660F9-9DA9-4BCC-BFF0-439EB06AE054}">
      <dsp:nvSpPr>
        <dsp:cNvPr id="0" name=""/>
        <dsp:cNvSpPr/>
      </dsp:nvSpPr>
      <dsp:spPr>
        <a:xfrm>
          <a:off x="397153" y="2159155"/>
          <a:ext cx="782923" cy="135477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SFI – Center </a:t>
          </a:r>
          <a:r>
            <a:rPr lang="nb-NO" sz="900" kern="1200" err="1"/>
            <a:t>of</a:t>
          </a:r>
          <a:r>
            <a:rPr lang="nb-NO" sz="900" kern="1200"/>
            <a:t> </a:t>
          </a:r>
          <a:r>
            <a:rPr lang="nb-NO" sz="900" kern="1200" err="1"/>
            <a:t>mobility</a:t>
          </a:r>
          <a:endParaRPr lang="nb-NO" sz="900" kern="1200"/>
        </a:p>
      </dsp:txBody>
      <dsp:txXfrm>
        <a:off x="420084" y="2182086"/>
        <a:ext cx="737061" cy="1308909"/>
      </dsp:txXfrm>
    </dsp:sp>
    <dsp:sp modelId="{C6498F3A-E144-4EA7-8583-38A843F262DC}">
      <dsp:nvSpPr>
        <dsp:cNvPr id="0" name=""/>
        <dsp:cNvSpPr/>
      </dsp:nvSpPr>
      <dsp:spPr>
        <a:xfrm rot="17578988">
          <a:off x="935636" y="2458724"/>
          <a:ext cx="802052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802052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316611" y="2447297"/>
        <a:ext cx="40102" cy="40102"/>
      </dsp:txXfrm>
    </dsp:sp>
    <dsp:sp modelId="{9C373FCA-D79C-44D5-9300-9CFC761AA81C}">
      <dsp:nvSpPr>
        <dsp:cNvPr id="0" name=""/>
        <dsp:cNvSpPr/>
      </dsp:nvSpPr>
      <dsp:spPr>
        <a:xfrm>
          <a:off x="1493247" y="1752925"/>
          <a:ext cx="782923" cy="69046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err="1"/>
            <a:t>Mobilise</a:t>
          </a:r>
          <a:r>
            <a:rPr lang="nb-NO" sz="900" kern="1200"/>
            <a:t>-D</a:t>
          </a:r>
        </a:p>
      </dsp:txBody>
      <dsp:txXfrm>
        <a:off x="1513470" y="1773148"/>
        <a:ext cx="742477" cy="650014"/>
      </dsp:txXfrm>
    </dsp:sp>
    <dsp:sp modelId="{2EFC976A-E189-42FD-A925-E7416E513E1E}">
      <dsp:nvSpPr>
        <dsp:cNvPr id="0" name=""/>
        <dsp:cNvSpPr/>
      </dsp:nvSpPr>
      <dsp:spPr>
        <a:xfrm rot="19457599">
          <a:off x="2239921" y="1976986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423114" y="1975969"/>
        <a:ext cx="19283" cy="19283"/>
      </dsp:txXfrm>
    </dsp:sp>
    <dsp:sp modelId="{1840529B-EB1A-49D8-A620-57054FC55365}">
      <dsp:nvSpPr>
        <dsp:cNvPr id="0" name=""/>
        <dsp:cNvSpPr/>
      </dsp:nvSpPr>
      <dsp:spPr>
        <a:xfrm>
          <a:off x="2589340" y="1677334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err="1"/>
            <a:t>Mobilise</a:t>
          </a:r>
          <a:r>
            <a:rPr lang="nb-NO" sz="900" kern="1200"/>
            <a:t>-D EU H2020</a:t>
          </a:r>
        </a:p>
      </dsp:txBody>
      <dsp:txXfrm>
        <a:off x="2600806" y="1688800"/>
        <a:ext cx="759991" cy="368529"/>
      </dsp:txXfrm>
    </dsp:sp>
    <dsp:sp modelId="{B5DE5F4C-4E3F-4757-9D9B-D92B8CBCB1D1}">
      <dsp:nvSpPr>
        <dsp:cNvPr id="0" name=""/>
        <dsp:cNvSpPr/>
      </dsp:nvSpPr>
      <dsp:spPr>
        <a:xfrm rot="18289469">
          <a:off x="3254651" y="1639350"/>
          <a:ext cx="548396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548396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15139" y="1634265"/>
        <a:ext cx="27419" cy="27419"/>
      </dsp:txXfrm>
    </dsp:sp>
    <dsp:sp modelId="{A5B62940-8BF5-480D-AAC2-029B26C16C98}">
      <dsp:nvSpPr>
        <dsp:cNvPr id="0" name=""/>
        <dsp:cNvSpPr/>
      </dsp:nvSpPr>
      <dsp:spPr>
        <a:xfrm>
          <a:off x="3685434" y="1227153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WP1</a:t>
          </a:r>
        </a:p>
      </dsp:txBody>
      <dsp:txXfrm>
        <a:off x="3696900" y="1238619"/>
        <a:ext cx="759991" cy="368529"/>
      </dsp:txXfrm>
    </dsp:sp>
    <dsp:sp modelId="{01A08821-9AAF-4562-B87B-1A54E677CDF0}">
      <dsp:nvSpPr>
        <dsp:cNvPr id="0" name=""/>
        <dsp:cNvSpPr/>
      </dsp:nvSpPr>
      <dsp:spPr>
        <a:xfrm>
          <a:off x="3372264" y="1864441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21020" y="1865236"/>
        <a:ext cx="15658" cy="15658"/>
      </dsp:txXfrm>
    </dsp:sp>
    <dsp:sp modelId="{59F93108-6DBB-4166-8184-49AF43B15928}">
      <dsp:nvSpPr>
        <dsp:cNvPr id="0" name=""/>
        <dsp:cNvSpPr/>
      </dsp:nvSpPr>
      <dsp:spPr>
        <a:xfrm>
          <a:off x="3685434" y="1677334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WP2</a:t>
          </a:r>
        </a:p>
      </dsp:txBody>
      <dsp:txXfrm>
        <a:off x="3696900" y="1688800"/>
        <a:ext cx="759991" cy="368529"/>
      </dsp:txXfrm>
    </dsp:sp>
    <dsp:sp modelId="{7C4F2FFA-A89D-4D85-8425-9537B2337633}">
      <dsp:nvSpPr>
        <dsp:cNvPr id="0" name=""/>
        <dsp:cNvSpPr/>
      </dsp:nvSpPr>
      <dsp:spPr>
        <a:xfrm rot="3310531">
          <a:off x="3254651" y="2089531"/>
          <a:ext cx="548396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548396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15139" y="2084446"/>
        <a:ext cx="27419" cy="27419"/>
      </dsp:txXfrm>
    </dsp:sp>
    <dsp:sp modelId="{35EDD057-D0E6-4721-A13F-5474F1075904}">
      <dsp:nvSpPr>
        <dsp:cNvPr id="0" name=""/>
        <dsp:cNvSpPr/>
      </dsp:nvSpPr>
      <dsp:spPr>
        <a:xfrm>
          <a:off x="3685434" y="212751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WP3</a:t>
          </a:r>
        </a:p>
      </dsp:txBody>
      <dsp:txXfrm>
        <a:off x="3696900" y="2138981"/>
        <a:ext cx="759991" cy="368529"/>
      </dsp:txXfrm>
    </dsp:sp>
    <dsp:sp modelId="{16069183-BA56-4ABB-A35C-1A9ACFCC121E}">
      <dsp:nvSpPr>
        <dsp:cNvPr id="0" name=""/>
        <dsp:cNvSpPr/>
      </dsp:nvSpPr>
      <dsp:spPr>
        <a:xfrm rot="2142401">
          <a:off x="2239921" y="2202077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423114" y="2201059"/>
        <a:ext cx="19283" cy="19283"/>
      </dsp:txXfrm>
    </dsp:sp>
    <dsp:sp modelId="{963C06EB-65B1-43EE-8802-EED0862D045B}">
      <dsp:nvSpPr>
        <dsp:cNvPr id="0" name=""/>
        <dsp:cNvSpPr/>
      </dsp:nvSpPr>
      <dsp:spPr>
        <a:xfrm>
          <a:off x="2589340" y="212751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err="1"/>
            <a:t>Mobilise</a:t>
          </a:r>
          <a:r>
            <a:rPr lang="nb-NO" sz="900" kern="1200"/>
            <a:t>-D Næringsliv</a:t>
          </a:r>
        </a:p>
      </dsp:txBody>
      <dsp:txXfrm>
        <a:off x="2600806" y="2138981"/>
        <a:ext cx="759991" cy="368529"/>
      </dsp:txXfrm>
    </dsp:sp>
    <dsp:sp modelId="{7D2594EB-30C5-4A0B-8F2C-F2E26791F7A1}">
      <dsp:nvSpPr>
        <dsp:cNvPr id="0" name=""/>
        <dsp:cNvSpPr/>
      </dsp:nvSpPr>
      <dsp:spPr>
        <a:xfrm rot="1640931">
          <a:off x="1160373" y="2908905"/>
          <a:ext cx="352578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52578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327848" y="2908715"/>
        <a:ext cx="17628" cy="17628"/>
      </dsp:txXfrm>
    </dsp:sp>
    <dsp:sp modelId="{C5BCC7EC-A6F5-4627-BC6A-4BC838552146}">
      <dsp:nvSpPr>
        <dsp:cNvPr id="0" name=""/>
        <dsp:cNvSpPr/>
      </dsp:nvSpPr>
      <dsp:spPr>
        <a:xfrm>
          <a:off x="1493247" y="2527061"/>
          <a:ext cx="782923" cy="942914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PreventIT</a:t>
          </a:r>
        </a:p>
      </dsp:txBody>
      <dsp:txXfrm>
        <a:off x="1516178" y="2549992"/>
        <a:ext cx="737061" cy="897052"/>
      </dsp:txXfrm>
    </dsp:sp>
    <dsp:sp modelId="{A156A696-0C1B-4F09-B916-BD5469990C82}">
      <dsp:nvSpPr>
        <dsp:cNvPr id="0" name=""/>
        <dsp:cNvSpPr/>
      </dsp:nvSpPr>
      <dsp:spPr>
        <a:xfrm>
          <a:off x="2276171" y="2989894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424926" y="2990689"/>
        <a:ext cx="15658" cy="15658"/>
      </dsp:txXfrm>
    </dsp:sp>
    <dsp:sp modelId="{2F1721C2-F78B-46BD-9792-595200B3B00D}">
      <dsp:nvSpPr>
        <dsp:cNvPr id="0" name=""/>
        <dsp:cNvSpPr/>
      </dsp:nvSpPr>
      <dsp:spPr>
        <a:xfrm>
          <a:off x="2589340" y="2802787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PreventIT EU H2020</a:t>
          </a:r>
        </a:p>
      </dsp:txBody>
      <dsp:txXfrm>
        <a:off x="2600806" y="2814253"/>
        <a:ext cx="759991" cy="368529"/>
      </dsp:txXfrm>
    </dsp:sp>
    <dsp:sp modelId="{2EBD741D-113D-45AA-8319-AACC6861E0D4}">
      <dsp:nvSpPr>
        <dsp:cNvPr id="0" name=""/>
        <dsp:cNvSpPr/>
      </dsp:nvSpPr>
      <dsp:spPr>
        <a:xfrm rot="19457599">
          <a:off x="3336014" y="2877349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19207" y="2876331"/>
        <a:ext cx="19283" cy="19283"/>
      </dsp:txXfrm>
    </dsp:sp>
    <dsp:sp modelId="{78AF869F-0C39-4C67-B8A9-702E454BBDA0}">
      <dsp:nvSpPr>
        <dsp:cNvPr id="0" name=""/>
        <dsp:cNvSpPr/>
      </dsp:nvSpPr>
      <dsp:spPr>
        <a:xfrm>
          <a:off x="3685434" y="2577697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WP1</a:t>
          </a:r>
        </a:p>
      </dsp:txBody>
      <dsp:txXfrm>
        <a:off x="3696900" y="2589163"/>
        <a:ext cx="759991" cy="368529"/>
      </dsp:txXfrm>
    </dsp:sp>
    <dsp:sp modelId="{AABAAF17-BB44-4B19-9101-D4AD256CCD1E}">
      <dsp:nvSpPr>
        <dsp:cNvPr id="0" name=""/>
        <dsp:cNvSpPr/>
      </dsp:nvSpPr>
      <dsp:spPr>
        <a:xfrm rot="2142401">
          <a:off x="3336014" y="3102439"/>
          <a:ext cx="3856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856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519207" y="3101422"/>
        <a:ext cx="19283" cy="19283"/>
      </dsp:txXfrm>
    </dsp:sp>
    <dsp:sp modelId="{1E093CEC-59E8-4F75-9BE0-DAC937E232D7}">
      <dsp:nvSpPr>
        <dsp:cNvPr id="0" name=""/>
        <dsp:cNvSpPr/>
      </dsp:nvSpPr>
      <dsp:spPr>
        <a:xfrm>
          <a:off x="3685434" y="3027878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WP2</a:t>
          </a:r>
        </a:p>
      </dsp:txBody>
      <dsp:txXfrm>
        <a:off x="3696900" y="3039344"/>
        <a:ext cx="759991" cy="368529"/>
      </dsp:txXfrm>
    </dsp:sp>
    <dsp:sp modelId="{688300FA-DE9B-4E5E-B85E-940A1FB73DC4}">
      <dsp:nvSpPr>
        <dsp:cNvPr id="0" name=""/>
        <dsp:cNvSpPr/>
      </dsp:nvSpPr>
      <dsp:spPr>
        <a:xfrm rot="4234292">
          <a:off x="865914" y="3271859"/>
          <a:ext cx="941495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941495" y="862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313125" y="3256946"/>
        <a:ext cx="47074" cy="47074"/>
      </dsp:txXfrm>
    </dsp:sp>
    <dsp:sp modelId="{50C0B034-6B0F-480C-94D8-4BF748885748}">
      <dsp:nvSpPr>
        <dsp:cNvPr id="0" name=""/>
        <dsp:cNvSpPr/>
      </dsp:nvSpPr>
      <dsp:spPr>
        <a:xfrm>
          <a:off x="1493247" y="352869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err="1"/>
            <a:t>Exergaming</a:t>
          </a:r>
          <a:r>
            <a:rPr lang="nb-NO" sz="900" kern="1200"/>
            <a:t> for </a:t>
          </a:r>
          <a:r>
            <a:rPr lang="nb-NO" sz="900" kern="1200" err="1"/>
            <a:t>active</a:t>
          </a:r>
          <a:r>
            <a:rPr lang="nb-NO" sz="900" kern="1200"/>
            <a:t> </a:t>
          </a:r>
          <a:r>
            <a:rPr lang="nb-NO" sz="900" kern="1200" err="1"/>
            <a:t>aging</a:t>
          </a:r>
          <a:endParaRPr lang="nb-NO" sz="900" kern="1200"/>
        </a:p>
      </dsp:txBody>
      <dsp:txXfrm>
        <a:off x="1504713" y="3540161"/>
        <a:ext cx="759991" cy="368529"/>
      </dsp:txXfrm>
    </dsp:sp>
    <dsp:sp modelId="{9DAFE529-4B14-4842-B3C9-AAFAA70061A1}">
      <dsp:nvSpPr>
        <dsp:cNvPr id="0" name=""/>
        <dsp:cNvSpPr/>
      </dsp:nvSpPr>
      <dsp:spPr>
        <a:xfrm>
          <a:off x="2276171" y="3715801"/>
          <a:ext cx="313169" cy="17248"/>
        </a:xfrm>
        <a:custGeom>
          <a:avLst/>
          <a:gdLst/>
          <a:ahLst/>
          <a:cxnLst/>
          <a:rect l="0" t="0" r="0" b="0"/>
          <a:pathLst>
            <a:path>
              <a:moveTo>
                <a:pt x="0" y="8624"/>
              </a:moveTo>
              <a:lnTo>
                <a:pt x="313169" y="86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424926" y="3716596"/>
        <a:ext cx="15658" cy="15658"/>
      </dsp:txXfrm>
    </dsp:sp>
    <dsp:sp modelId="{29A171E6-D0F5-4470-87A3-7E26241F201D}">
      <dsp:nvSpPr>
        <dsp:cNvPr id="0" name=""/>
        <dsp:cNvSpPr/>
      </dsp:nvSpPr>
      <dsp:spPr>
        <a:xfrm>
          <a:off x="2589340" y="3528695"/>
          <a:ext cx="782923" cy="39146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 err="1"/>
            <a:t>Exergaming</a:t>
          </a:r>
          <a:r>
            <a:rPr lang="nb-NO" sz="900" kern="1200"/>
            <a:t> EU FP7</a:t>
          </a:r>
        </a:p>
      </dsp:txBody>
      <dsp:txXfrm>
        <a:off x="2600806" y="3540161"/>
        <a:ext cx="759991" cy="36852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241AFA-FCEE-4A6D-A14B-247E170E9E6D}">
      <dsp:nvSpPr>
        <dsp:cNvPr id="0" name=""/>
        <dsp:cNvSpPr/>
      </dsp:nvSpPr>
      <dsp:spPr>
        <a:xfrm>
          <a:off x="3263199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Delprosjekt</a:t>
          </a:r>
        </a:p>
      </dsp:txBody>
      <dsp:txXfrm>
        <a:off x="3263199" y="0"/>
        <a:ext cx="1376350" cy="1225550"/>
      </dsp:txXfrm>
    </dsp:sp>
    <dsp:sp modelId="{0D6F98C8-D1DE-4457-98E2-40DDFABA23EA}">
      <dsp:nvSpPr>
        <dsp:cNvPr id="0" name=""/>
        <dsp:cNvSpPr/>
      </dsp:nvSpPr>
      <dsp:spPr>
        <a:xfrm>
          <a:off x="1657457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Spesifisering av finansieringskilde</a:t>
          </a:r>
        </a:p>
      </dsp:txBody>
      <dsp:txXfrm>
        <a:off x="1657457" y="0"/>
        <a:ext cx="1376350" cy="1225550"/>
      </dsp:txXfrm>
    </dsp:sp>
    <dsp:sp modelId="{D1EC4036-C7E1-44E0-AEA0-98FFB3FE7BB1}">
      <dsp:nvSpPr>
        <dsp:cNvPr id="0" name=""/>
        <dsp:cNvSpPr/>
      </dsp:nvSpPr>
      <dsp:spPr>
        <a:xfrm>
          <a:off x="51716" y="0"/>
          <a:ext cx="1376350" cy="408516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Finansieringskilde</a:t>
          </a:r>
        </a:p>
      </dsp:txBody>
      <dsp:txXfrm>
        <a:off x="51716" y="0"/>
        <a:ext cx="1376350" cy="1225550"/>
      </dsp:txXfrm>
    </dsp:sp>
    <dsp:sp modelId="{F91660F9-9DA9-4BCC-BFF0-439EB06AE054}">
      <dsp:nvSpPr>
        <dsp:cNvPr id="0" name=""/>
        <dsp:cNvSpPr/>
      </dsp:nvSpPr>
      <dsp:spPr>
        <a:xfrm>
          <a:off x="607" y="1679922"/>
          <a:ext cx="1435900" cy="142783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EU</a:t>
          </a:r>
        </a:p>
      </dsp:txBody>
      <dsp:txXfrm>
        <a:off x="42427" y="1721742"/>
        <a:ext cx="1352260" cy="1344197"/>
      </dsp:txXfrm>
    </dsp:sp>
    <dsp:sp modelId="{C6498F3A-E144-4EA7-8583-38A843F262DC}">
      <dsp:nvSpPr>
        <dsp:cNvPr id="0" name=""/>
        <dsp:cNvSpPr/>
      </dsp:nvSpPr>
      <dsp:spPr>
        <a:xfrm rot="19996042">
          <a:off x="1414670" y="2289303"/>
          <a:ext cx="408613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408613" y="1263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608762" y="2291722"/>
        <a:ext cx="20430" cy="20430"/>
      </dsp:txXfrm>
    </dsp:sp>
    <dsp:sp modelId="{9C373FCA-D79C-44D5-9300-9CFC761AA81C}">
      <dsp:nvSpPr>
        <dsp:cNvPr id="0" name=""/>
        <dsp:cNvSpPr/>
      </dsp:nvSpPr>
      <dsp:spPr>
        <a:xfrm>
          <a:off x="1801447" y="1704283"/>
          <a:ext cx="1146958" cy="101150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H2020</a:t>
          </a:r>
        </a:p>
      </dsp:txBody>
      <dsp:txXfrm>
        <a:off x="1831073" y="1733909"/>
        <a:ext cx="1087706" cy="952250"/>
      </dsp:txXfrm>
    </dsp:sp>
    <dsp:sp modelId="{2EFC976A-E189-42FD-A925-E7416E513E1E}">
      <dsp:nvSpPr>
        <dsp:cNvPr id="0" name=""/>
        <dsp:cNvSpPr/>
      </dsp:nvSpPr>
      <dsp:spPr>
        <a:xfrm rot="19930094">
          <a:off x="2915445" y="2064373"/>
          <a:ext cx="569859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569859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186128" y="2062761"/>
        <a:ext cx="28492" cy="28492"/>
      </dsp:txXfrm>
    </dsp:sp>
    <dsp:sp modelId="{1840529B-EB1A-49D8-A620-57054FC55365}">
      <dsp:nvSpPr>
        <dsp:cNvPr id="0" name=""/>
        <dsp:cNvSpPr/>
      </dsp:nvSpPr>
      <dsp:spPr>
        <a:xfrm>
          <a:off x="3452344" y="1657241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PreventIT</a:t>
          </a:r>
        </a:p>
      </dsp:txBody>
      <dsp:txXfrm>
        <a:off x="3469141" y="1674038"/>
        <a:ext cx="1113364" cy="539885"/>
      </dsp:txXfrm>
    </dsp:sp>
    <dsp:sp modelId="{EA2AC298-4FCA-4294-BC88-19F8213F95AA}">
      <dsp:nvSpPr>
        <dsp:cNvPr id="0" name=""/>
        <dsp:cNvSpPr/>
      </dsp:nvSpPr>
      <dsp:spPr>
        <a:xfrm rot="2009278">
          <a:off x="2900500" y="2356632"/>
          <a:ext cx="577177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577177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174659" y="2354837"/>
        <a:ext cx="28858" cy="28858"/>
      </dsp:txXfrm>
    </dsp:sp>
    <dsp:sp modelId="{F8709A01-3DFB-4883-98F3-4DC7FD64DE07}">
      <dsp:nvSpPr>
        <dsp:cNvPr id="0" name=""/>
        <dsp:cNvSpPr/>
      </dsp:nvSpPr>
      <dsp:spPr>
        <a:xfrm>
          <a:off x="3429772" y="2241759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err="1"/>
            <a:t>Mobilise</a:t>
          </a:r>
          <a:r>
            <a:rPr lang="nb-NO" sz="1800" kern="1200"/>
            <a:t>-D</a:t>
          </a:r>
        </a:p>
      </dsp:txBody>
      <dsp:txXfrm>
        <a:off x="3446569" y="2258556"/>
        <a:ext cx="1113364" cy="539885"/>
      </dsp:txXfrm>
    </dsp:sp>
    <dsp:sp modelId="{523A4C08-7080-4828-80F7-6A0F00AE1C7F}">
      <dsp:nvSpPr>
        <dsp:cNvPr id="0" name=""/>
        <dsp:cNvSpPr/>
      </dsp:nvSpPr>
      <dsp:spPr>
        <a:xfrm rot="3875089">
          <a:off x="1171289" y="2800864"/>
          <a:ext cx="929246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929246" y="1263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612681" y="2790267"/>
        <a:ext cx="46462" cy="46462"/>
      </dsp:txXfrm>
    </dsp:sp>
    <dsp:sp modelId="{E85055A5-EC36-4AB2-8685-8F3F08926F97}">
      <dsp:nvSpPr>
        <dsp:cNvPr id="0" name=""/>
        <dsp:cNvSpPr/>
      </dsp:nvSpPr>
      <dsp:spPr>
        <a:xfrm>
          <a:off x="1835316" y="2946416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/>
            <a:t>FP7</a:t>
          </a:r>
        </a:p>
      </dsp:txBody>
      <dsp:txXfrm>
        <a:off x="1852113" y="2963213"/>
        <a:ext cx="1113364" cy="539885"/>
      </dsp:txXfrm>
    </dsp:sp>
    <dsp:sp modelId="{BEF23B3C-1E16-4B1B-900D-FF2089EAAEC7}">
      <dsp:nvSpPr>
        <dsp:cNvPr id="0" name=""/>
        <dsp:cNvSpPr/>
      </dsp:nvSpPr>
      <dsp:spPr>
        <a:xfrm rot="953398">
          <a:off x="2973610" y="3282609"/>
          <a:ext cx="453541" cy="25268"/>
        </a:xfrm>
        <a:custGeom>
          <a:avLst/>
          <a:gdLst/>
          <a:ahLst/>
          <a:cxnLst/>
          <a:rect l="0" t="0" r="0" b="0"/>
          <a:pathLst>
            <a:path>
              <a:moveTo>
                <a:pt x="0" y="12634"/>
              </a:moveTo>
              <a:lnTo>
                <a:pt x="453541" y="126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3189042" y="3283905"/>
        <a:ext cx="22677" cy="22677"/>
      </dsp:txXfrm>
    </dsp:sp>
    <dsp:sp modelId="{93093E33-AEF4-4E37-907D-24E4BFAA5E21}">
      <dsp:nvSpPr>
        <dsp:cNvPr id="0" name=""/>
        <dsp:cNvSpPr/>
      </dsp:nvSpPr>
      <dsp:spPr>
        <a:xfrm>
          <a:off x="3418486" y="3070592"/>
          <a:ext cx="1146958" cy="57347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kern="1200" err="1"/>
            <a:t>Exergaming</a:t>
          </a:r>
          <a:endParaRPr lang="nb-NO" sz="1800" kern="1200"/>
        </a:p>
      </dsp:txBody>
      <dsp:txXfrm>
        <a:off x="3435283" y="3087389"/>
        <a:ext cx="1113364" cy="5398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5">
  <dgm:title val=""/>
  <dgm:desc val=""/>
  <dgm:catLst>
    <dgm:cat type="hierarchy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/>
    <dgm:presOf/>
    <dgm:shape xmlns:r="http://schemas.openxmlformats.org/officeDocument/2006/relationships" r:blip="">
      <dgm:adjLst/>
    </dgm:shape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/>
              <dgm:constr type="t" for="ch" forName="hierFlow" refType="h" fact="0.3"/>
              <dgm:constr type="r" for="ch" forName="hierFlow" refType="w" fact="0.98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 refType="h" fact="0.3"/>
              <dgm:constr type="r" for="ch" forName="hierFlow" refType="w"/>
              <dgm:constr type="b" for="ch" forName="hierFlow" refType="h" fact="0.96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h" for="des" forName="level1Shape" refType="h"/>
              <dgm:constr type="w" for="des" forName="level1Shape" refType="h" refFor="des" refForName="level1Shape" fact="2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w" refFor="des" refForName="level1Shape" op="equ" fact="0.4"/>
              <dgm:constr type="sibSp" for="des" forName="hierChild1" refType="h" refFor="des" refForName="level1Shape" op="equ" fact="0.15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w" refFor="des" refForName="level1Shape" op="equ"/>
              <dgm:constr type="userB" for="des" refType="sp" refFor="des" op="equ"/>
              <dgm:constr type="w" for="des" forName="firstBuf" refType="w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h" for="des" forName="level1Shape" refType="h"/>
          <dgm:constr type="w" for="des" forName="level1Shape" refType="h" refFor="des" refForName="level1Shape" fact="2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w" refFor="des" refForName="level1Shape" op="equ" fact="0.4"/>
          <dgm:constr type="sibSp" for="des" forName="hierChild1" refType="h" refFor="des" refForName="level1Shape" op="equ" fact="0.15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w" refFor="des" refForName="level1Shape" op="equ"/>
          <dgm:constr type="userB" for="des" refType="sp" refFor="des" op="equ"/>
          <dgm:constr type="w" for="des" forName="firstBuf" refType="w" refFor="des" refForName="level1Shape" fact="0.1"/>
        </dgm:constrLst>
      </dgm:else>
    </dgm:choose>
    <dgm:ruleLst/>
    <dgm:layoutNode name="hierFlow">
      <dgm:choose name="Name6">
        <dgm:if name="Name7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  <dgm:param type="fallback" val="2D"/>
          </dgm:alg>
        </dgm:if>
        <dgm:else name="Name8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  <dgm:param type="fallback" val="2D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ptType="node" op="equ" val="65"/>
        <dgm:constr type="primFontSz" for="des" forName="connTx" op="equ" val="55"/>
        <dgm:constr type="primFontSz" for="des" forName="connTx" refType="primFontSz" refFor="des" refPtType="node" op="lte" fact="0.8"/>
      </dgm:constrLst>
      <dgm:ruleLst/>
      <dgm:choose name="Name9">
        <dgm:if name="Name10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1"/>
      </dgm:choose>
      <dgm:layoutNode name="hierChild1">
        <dgm:varLst>
          <dgm:chPref val="1"/>
          <dgm:animOne val="branch"/>
          <dgm:animLvl val="lvl"/>
        </dgm:varLst>
        <dgm:choose name="Name12">
          <dgm:if name="Name13" func="var" arg="dir" op="equ" val="norm">
            <dgm:alg type="hierChild">
              <dgm:param type="linDir" val="fromT"/>
              <dgm:param type="chAlign" val="l"/>
            </dgm:alg>
          </dgm:if>
          <dgm:else name="Name14">
            <dgm:alg type="hierChild">
              <dgm:param type="linDir" val="fromT"/>
              <dgm:param type="ch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forEach name="Name15" axis="ch" cnt="3">
          <dgm:forEach name="Name16" axis="self" ptType="node">
            <dgm:layoutNode name="Name17">
              <dgm:choose name="Name18">
                <dgm:if name="Name19" func="var" arg="dir" op="equ" val="norm">
                  <dgm:alg type="hierRoot">
                    <dgm:param type="hierAlign" val="lCtrCh"/>
                  </dgm:alg>
                </dgm:if>
                <dgm:else name="Name20">
                  <dgm:alg type="hierRoot">
                    <dgm:param type="hierAlign" val="rCtrCh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tMarg" refType="primFontSz" fact="0.05"/>
                  <dgm:constr type="bMarg" refType="primFontSz" fact="0.05"/>
                  <dgm:constr type="lMarg" refType="primFontSz" fact="0.05"/>
                  <dgm:constr type="rMarg" refType="primFontSz" fact="0.05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21">
                  <dgm:if name="Name2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23">
                    <dgm:alg type="hierChild">
                      <dgm:param type="linDir" val="fromT"/>
                      <dgm:param type="ch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24" axis="self" ptType="parTrans" cnt="1">
                    <dgm:layoutNode name="Name25">
                      <dgm:choose name="Name26">
                        <dgm:if name="Name27" func="var" arg="dir" op="equ" val="norm">
                          <dgm:alg type="conn">
                            <dgm:param type="dim" val="1D"/>
                            <dgm:param type="begPts" val="midR"/>
                            <dgm:param type="endPts" val="midL"/>
                            <dgm:param type="endSty" val="noArr"/>
                          </dgm:alg>
                        </dgm:if>
                        <dgm:else name="Name28">
                          <dgm:alg type="conn">
                            <dgm:param type="dim" val="1D"/>
                            <dgm:param type="begPts" val="midL"/>
                            <dgm:param type="endPts" val="midR"/>
                            <dgm:param type="endSty" val="noArr"/>
                          </dgm:alg>
                        </dgm:else>
                      </dgm:choose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5"/>
                        <dgm:constr type="connDist"/>
                        <dgm:constr type="begPad"/>
                        <dgm:constr type="endPad"/>
                        <dgm:constr type="userA" for="ch" refType="connDist"/>
                      </dgm:constrLst>
                      <dgm:ruleLst/>
                      <dgm:layoutNode name="connTx">
                        <dgm:alg type="tx">
                          <dgm:param type="autoTxRot" val="grav"/>
                        </dgm:alg>
                        <dgm:shape xmlns:r="http://schemas.openxmlformats.org/officeDocument/2006/relationships" type="rect" r:blip="" hideGeom="1">
                          <dgm:adjLst/>
                        </dgm:shape>
                        <dgm:presOf axis="self"/>
                        <dgm:constrLst>
                          <dgm:constr type="userA"/>
                          <dgm:constr type="w" refType="userA" fact="0.05"/>
                          <dgm:constr type="h" refType="userA" fact="0.05"/>
                          <dgm:constr type="lMarg" val="1"/>
                          <dgm:constr type="rMarg" val="1"/>
                          <dgm:constr type="tMarg"/>
                          <dgm:constr type="bMarg"/>
                        </dgm:constrLst>
                        <dgm:ruleLst>
                          <dgm:rule type="h" val="NaN" fact="0.25" max="NaN"/>
                          <dgm:rule type="w" val="NaN" fact="0.8" max="NaN"/>
                          <dgm:rule type="primFontSz" val="5" fact="NaN" max="NaN"/>
                        </dgm:ruleLst>
                      </dgm:layoutNode>
                    </dgm:layoutNode>
                  </dgm:forEach>
                  <dgm:forEach name="Name29" axis="self" ptType="node">
                    <dgm:layoutNode name="Name30">
                      <dgm:choose name="Name31">
                        <dgm:if name="Name32" func="var" arg="dir" op="equ" val="norm">
                          <dgm:alg type="hierRoot">
                            <dgm:param type="hierAlign" val="lCtrCh"/>
                          </dgm:alg>
                        </dgm:if>
                        <dgm:else name="Name33">
                          <dgm:alg type="hierRoot">
                            <dgm:param type="hierAlign" val="rCtrCh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tMarg" refType="primFontSz" fact="0.05"/>
                          <dgm:constr type="bMarg" refType="primFontSz" fact="0.05"/>
                          <dgm:constr type="lMarg" refType="primFontSz" fact="0.05"/>
                          <dgm:constr type="rMarg" refType="primFontSz" fact="0.05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34">
                          <dgm:if name="Name35" func="var" arg="dir" op="equ" val="norm">
                            <dgm:alg type="hierChild">
                              <dgm:param type="linDir" val="fromT"/>
                              <dgm:param type="chAlign" val="l"/>
                            </dgm:alg>
                          </dgm:if>
                          <dgm:else name="Name36">
                            <dgm:alg type="hierChild">
                              <dgm:param type="linDir" val="fromT"/>
                              <dgm:param type="chAlign" val="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37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choose name="Name38">
        <dgm:if name="Name39" func="var" arg="dir" op="equ" val="norm">
          <dgm:alg type="lin">
            <dgm:param type="linDir" val="fromL"/>
            <dgm:param type="nodeVertAlign" val="mid"/>
            <dgm:param type="vertAlign" val="mid"/>
            <dgm:param type="nodeHorzAlign" val="l"/>
            <dgm:param type="horzAlign" val="l"/>
          </dgm:alg>
        </dgm:if>
        <dgm:else name="Name40">
          <dgm:alg type="lin">
            <dgm:param type="linDir" val="fromR"/>
            <dgm:param type="nodeVertAlign" val="mid"/>
            <dgm:param type="vertAlign" val="mid"/>
            <dgm:param type="nodeHorzAlign" val="r"/>
            <dgm:param type="horzAlign" val="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rectComp" refType="w"/>
        <dgm:constr type="h" for="ch" forName="rectComp" refType="h"/>
        <dgm:constr type="h" for="des" forName="bgRect" refType="h"/>
        <dgm:constr type="primFontSz" for="des" forName="bgRectTx" op="equ" val="65"/>
      </dgm:constrLst>
      <dgm:ruleLst/>
      <dgm:forEach name="Name41" axis="ch" ptType="node" st="2">
        <dgm:layoutNode name="rectComp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userA"/>
            <dgm:constr type="l" for="ch" forName="bgRect"/>
            <dgm:constr type="t" for="ch" forName="bgRect"/>
            <dgm:constr type="w" for="ch" forName="bgRect" refType="userA" fact="1.2"/>
            <dgm:constr type="l" for="ch" forName="bgRectTx"/>
            <dgm:constr type="t" for="ch" forName="bgRectTx"/>
            <dgm:constr type="h" for="ch" forName="bgRectTx" refType="h" refFor="ch" refForName="bgRect" fact="0.3"/>
            <dgm:constr type="w" for="ch" forName="bgRectTx" refType="w" refFor="ch" refForName="bgRect" op="equ"/>
          </dgm:constrLst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shape xmlns:r="http://schemas.openxmlformats.org/officeDocument/2006/relationships" type="rect" r:blip="" zOrderOff="-999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</dgm:layoutNode>
        <dgm:choose name="Name42">
          <dgm:if name="Name43" axis="self" ptType="node" func="revPos" op="gte" val="2">
            <dgm:layoutNode name="spComp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hSp"/>
                <dgm:constr type="t" for="ch" forName="hSp"/>
                <dgm:constr type="w" for="ch" forName="hSp" refType="userB"/>
                <dgm:constr type="wOff" for="ch" forName="hSp" refType="userA" fact="-0.2"/>
              </dgm:constrLst>
              <dgm:ruleLst/>
              <dgm:layoutNode name="h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44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1B6C9F-1184-4053-9ECE-D6D473120E9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54A5B9-7047-4DFD-897A-60B88832EF4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55110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881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CFEEB24-63B3-46F6-88E9-0F390CC9DDA1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42745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34088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35424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378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  <a:p>
            <a:r>
              <a:rPr lang="nb-NO"/>
              <a:t>Hvis flere enheter= skiller ved bruk av k-sted</a:t>
            </a:r>
          </a:p>
          <a:p>
            <a:endParaRPr lang="nb-NO"/>
          </a:p>
          <a:p>
            <a:r>
              <a:rPr lang="nb-NO" sz="1050"/>
              <a:t>Generelt anbefales bruk av prosjekt kun unntaksvis der man evt. har behov for å innhente informasjon man ikke får ut av andre elementer i økonomimodellen, som gjennom aktivitetstype og aktivitet i kombinasjon med øvrige dimensjoner i kontostrengen (som k-sted og konto). I tillegg bør eventuell inndeling i prosjekt kun skje der man vurderer det er vesentlige behov, som f.eks. i for av: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Størrelse i kroner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Mange i antall</a:t>
            </a:r>
          </a:p>
          <a:p>
            <a:pPr marL="1200150" lvl="2" indent="-285750">
              <a:buFontTx/>
              <a:buChar char="-"/>
            </a:pPr>
            <a:r>
              <a:rPr lang="nb-NO" sz="900"/>
              <a:t>Risiko</a:t>
            </a:r>
          </a:p>
          <a:p>
            <a:pPr lvl="1"/>
            <a:r>
              <a:rPr lang="nb-NO" sz="1000"/>
              <a:t>Konsekvensen av å benytte utstakt bruk av prosjekt på RD og RSO vil innebære komplisering av modellen for alle involverte som skal planlegge og følge opp aktiviteter innenfor RD og RSO. Hierarkiet Ramme – Aktivitetstype – Aktivitet må alle forholde seg til. Hierarki i prosjektstrukturen i tillegg vil øke kompleksiteten, og innføring av gruppering også i prosjekt bør derfor veies opp mot ulempene.</a:t>
            </a:r>
          </a:p>
          <a:p>
            <a:pPr lvl="1"/>
            <a:endParaRPr lang="nb-NO" sz="1000"/>
          </a:p>
          <a:p>
            <a:pPr lvl="1"/>
            <a:r>
              <a:rPr lang="nb-NO" sz="1000"/>
              <a:t>Ta en reel vurdering på om det er hensiktsmessig å erstatte alle eksisterende analyseverdier med delprosjekt. Benytt anledningen til å se på hvilken modell som vil gi dere god styring. </a:t>
            </a:r>
          </a:p>
          <a:p>
            <a:pPr lvl="1"/>
            <a:r>
              <a:rPr lang="nb-NO" sz="1000"/>
              <a:t>One </a:t>
            </a:r>
            <a:r>
              <a:rPr lang="nb-NO" sz="1000" err="1"/>
              <a:t>size</a:t>
            </a:r>
            <a:r>
              <a:rPr lang="nb-NO" sz="1000"/>
              <a:t> </a:t>
            </a:r>
            <a:r>
              <a:rPr lang="nb-NO" sz="1000" err="1"/>
              <a:t>does</a:t>
            </a:r>
            <a:r>
              <a:rPr lang="nb-NO" sz="1000"/>
              <a:t> not </a:t>
            </a:r>
            <a:r>
              <a:rPr lang="nb-NO" sz="1000" err="1"/>
              <a:t>fit</a:t>
            </a:r>
            <a:r>
              <a:rPr lang="nb-NO" sz="1000"/>
              <a:t> all – hver enhet på dekke sine behov.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79232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3965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0962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59883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23877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iersted </a:t>
            </a:r>
            <a:r>
              <a:rPr lang="nb-NO" err="1"/>
              <a:t>vs</a:t>
            </a:r>
            <a:r>
              <a:rPr lang="nb-NO"/>
              <a:t> K-s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938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54A5B9-7047-4DFD-897A-60B88832EF43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84815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5306F9-7485-49D4-A147-5CD5252E0C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6B154F-A3B5-418C-9B67-8DA2DE7F1C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DBA3F5-6334-4A9C-A3F4-1B90CFE6BB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9C8B5D-21CE-4510-8C74-5B664F89D8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7581E8-8230-4BC1-91F3-DE988C5F1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24932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4DF40A-867E-49B4-A5BA-727ACD755B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91E439-6E86-4C23-922A-8CD428CC9E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05574D-BDED-468C-B8B4-1DE7A2C27D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48D710-B6DA-4BFB-B355-DB0072613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C2996C-4C4A-439B-B4A5-CB54765DD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4711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D1A5341-F5D6-4A55-BA9B-1060B503D11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B0BBEB-837F-4B09-8C97-F14C3E1BA2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02EB497-F765-4CCA-BDF4-3631777C2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AD663A-6D40-4E81-B90A-B734FA7E75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EA5249-909E-480F-B79D-C8456E7C4F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6963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53494" y="6451038"/>
            <a:ext cx="456108" cy="252103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1" i="0" smtClean="0">
                <a:solidFill>
                  <a:schemeClr val="bg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1" i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EDDF0375-0873-B843-9EC0-A06479A80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039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DE8648CE-2671-CD47-B4B1-0ED8BB6803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3918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084722-5145-4696-8430-10D0839ED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7B0FD5-0020-4CD1-9B24-48DD7D7923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C043AC-C9C0-472E-83CD-2B4F874BD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D5C5E-CF2F-4BD7-B71C-BDBD39320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A1205-7A80-4AAC-85BF-3250CE51A2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138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79B4B-D35B-46CB-A43B-7C4A021A6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891196-57A7-4C9B-9D78-7BAEDD5DE5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50F25-85EC-48C9-874E-C297A42C5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67BA45-3089-4598-B06D-3C60F3ADAA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367B4C-71A6-466D-84E5-E96CFF6E0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3992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172DFB-AADB-467E-B1BE-62ECF11AE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7A2A4F-86D9-426F-806E-0FC72580C8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B8CDF7-8980-4245-BFBD-9CCBFD0E1B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B4CE9F-6C2C-4C68-8CAE-0337A7BEC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DCF047-FB65-46C5-90C8-170774095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E3EF15-558A-4867-AA98-BEBD3264D8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9940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DF23D-83A7-4976-A26A-EEEFE6971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0FC40-E0B0-41E6-A3D6-04065C917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F8639F-9BDB-445B-AF94-302F26D20B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D25B35-7F7F-46A8-95C4-076C0092A5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8A205B-25E6-4AE6-9B89-95E202FB62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0ADD52-7D2E-42AA-9C0B-408A9FED4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19F519-5DF0-4F32-8D95-9880FD5E7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1E929D-F830-4642-B3AF-9FEC9CD0E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128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4EB706-41FC-4AB5-85F0-C35CC78F9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74304D-F877-4F85-968C-DCA0CAA2C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C0A732-059D-459F-9083-009C348746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27E9D9-0611-4469-834E-E26CECA17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39854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9D393B-5AE9-4413-B042-C2C3FAD629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DEC0C0-F3A8-4BB3-B0D9-40AB69D6C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62198-F66C-4EB6-9A1A-6F642FF3B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2776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8B6648-4B01-4D40-BF44-F8D6DDB39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3B53CE-916B-47D5-90ED-CFD3F9199E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1F5E32D-AFE8-4541-9789-E146C7F3B6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5BE281-D682-4BDB-AF4F-AA8C4BCED8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654C14-6028-4F49-8875-D885F7708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010273-0062-41FD-BCF7-AA31F5C75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9799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C18BE-7CA5-4445-ACB9-3DD9BDC2DE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F91BFE-49C5-4792-A43C-B4101F09CB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0687DE-1418-4061-823A-0925C33B81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33F9C7-4C36-46C0-8A24-F644C6ECA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47F62E-4F1A-4710-BCAA-17C0DBDBE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ED3C15-9999-4C6D-A23B-0C1064F9B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969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8BECBF-6F4D-4780-A8A2-8A1F5A677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87132D-CBDC-43B1-8B20-A5C4A3DC92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7F7DA7-8B99-4C0B-AFDF-40CC676E20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B27D92-3305-43D0-A1BB-54F33722EBD0}" type="datetimeFigureOut">
              <a:rPr lang="nb-NO" smtClean="0"/>
              <a:t>02.11.2022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21B0C-81B7-4E02-A1A4-D8ED7825B8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A66CAC-D40A-4A2E-9837-D29A6B3AE0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BBDFAD1-CBCF-481C-A158-F4DECFE3B4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379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padlet.com/annetteyludvigsen/x33m0zmgx9jg0qsv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12" Type="http://schemas.openxmlformats.org/officeDocument/2006/relationships/image" Target="../media/image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padlet.com/annetteyludvigsen/khjk6fdgtav0xos4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hyperlink" Target="https://padlet.com/annetteyludvigsen/4muuowceneex3s2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AD8A63-2146-4574-8DC1-FA6C557EA0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</a:blip>
          <a:srcRect t="14943" b="3239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119" name="Rectangle 72">
            <a:extLst>
              <a:ext uri="{FF2B5EF4-FFF2-40B4-BE49-F238E27FC236}">
                <a16:creationId xmlns:a16="http://schemas.microsoft.com/office/drawing/2014/main" id="{D38A241E-0395-41E5-8607-BAA2799A43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-1" y="4892040"/>
            <a:ext cx="12191999" cy="1965960"/>
          </a:xfrm>
          <a:prstGeom prst="rect">
            <a:avLst/>
          </a:prstGeom>
          <a:solidFill>
            <a:schemeClr val="bg1">
              <a:alpha val="72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0" name="Straight Connector 74">
            <a:extLst>
              <a:ext uri="{FF2B5EF4-FFF2-40B4-BE49-F238E27FC236}">
                <a16:creationId xmlns:a16="http://schemas.microsoft.com/office/drawing/2014/main" id="{CE352288-84AD-4CA8-BCD5-76C29D34E1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V="1">
            <a:off x="8138160" y="5325066"/>
            <a:ext cx="0" cy="9144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F731FB9-408E-47F0-960E-C83C479D4E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103498" y="-230515"/>
            <a:ext cx="1985007" cy="121920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896ED6-4AAF-43F7-85C6-1416EF434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64956" y="5151330"/>
            <a:ext cx="6973204" cy="1261872"/>
          </a:xfrm>
        </p:spPr>
        <p:txBody>
          <a:bodyPr anchor="ctr">
            <a:normAutofit/>
          </a:bodyPr>
          <a:lstStyle/>
          <a:p>
            <a:pPr algn="l"/>
            <a:r>
              <a:rPr lang="nb-NO" sz="4100">
                <a:solidFill>
                  <a:schemeClr val="tx1">
                    <a:lumMod val="85000"/>
                    <a:lumOff val="15000"/>
                  </a:schemeClr>
                </a:solidFill>
              </a:rPr>
              <a:t>Innføring i BOTT økonomimodell</a:t>
            </a:r>
            <a:br>
              <a:rPr lang="nb-NO" sz="4100">
                <a:solidFill>
                  <a:schemeClr val="tx1">
                    <a:lumMod val="85000"/>
                    <a:lumOff val="15000"/>
                  </a:schemeClr>
                </a:solidFill>
              </a:rPr>
            </a:br>
            <a:r>
              <a:rPr lang="nb-NO" sz="2800">
                <a:solidFill>
                  <a:schemeClr val="tx1">
                    <a:lumMod val="85000"/>
                    <a:lumOff val="15000"/>
                  </a:schemeClr>
                </a:solidFill>
              </a:rPr>
              <a:t>Basiskurs 1</a:t>
            </a:r>
            <a:endParaRPr lang="nb-NO" sz="410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628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1E35B42-93BA-4A6D-8A49-EA308A21FC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Noen prinsip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34DC0F-E05D-4CD5-A913-1046B2D2E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1068" y="841247"/>
            <a:ext cx="6877878" cy="5120640"/>
          </a:xfrm>
        </p:spPr>
        <p:txBody>
          <a:bodyPr anchor="ctr">
            <a:normAutofit/>
          </a:bodyPr>
          <a:lstStyle/>
          <a:p>
            <a:r>
              <a:rPr lang="nb-NO" sz="1800">
                <a:solidFill>
                  <a:schemeClr val="tx2"/>
                </a:solidFill>
              </a:rPr>
              <a:t>Fristilt koststed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Bruker prosjektnummer på tvers</a:t>
            </a:r>
          </a:p>
          <a:p>
            <a:r>
              <a:rPr lang="nb-NO" sz="1800">
                <a:solidFill>
                  <a:schemeClr val="tx2"/>
                </a:solidFill>
              </a:rPr>
              <a:t>Kategorisering av prosjekter for Aktivitetstype og Aktivitet er ment for å dekke varige behov. 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Vesentlige behov av mer midlertidig karakter må dekkes gjennom prosjektstrukturen</a:t>
            </a:r>
          </a:p>
          <a:p>
            <a:r>
              <a:rPr lang="nb-NO" sz="1800">
                <a:solidFill>
                  <a:schemeClr val="tx2"/>
                </a:solidFill>
              </a:rPr>
              <a:t>Delprosjekt må benyttes, men Prosjekt som gruppering av delprosjekt benyttes kun ved særskilte behov</a:t>
            </a:r>
          </a:p>
          <a:p>
            <a:pPr marL="0" indent="0">
              <a:buNone/>
            </a:pPr>
            <a:endParaRPr lang="nb-NO" sz="18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27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E7619F7A-BCB1-4DDF-97DC-BCF55D59F15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3F1983A-5396-48FC-8684-4E4A78257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9162" y="1277967"/>
            <a:ext cx="5378300" cy="1595995"/>
          </a:xfrm>
          <a:ln>
            <a:solidFill>
              <a:srgbClr val="33CCCC"/>
            </a:solidFill>
          </a:ln>
        </p:spPr>
        <p:txBody>
          <a:bodyPr>
            <a:normAutofit/>
          </a:bodyPr>
          <a:lstStyle/>
          <a:p>
            <a:r>
              <a:rPr lang="nb-NO" sz="1800"/>
              <a:t>En felles modell/struktur, inkludert noen frihetsgrader. </a:t>
            </a:r>
          </a:p>
          <a:p>
            <a:r>
              <a:rPr lang="nb-NO" sz="1800"/>
              <a:t>Alle enheter må selv vurdere hva som er den beste organiseringen av sin økonomi for å styre på best mulig måte. 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0D49BCF-44B5-42C1-BE21-FD7E2F9C70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288055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E5AAA1B-3C0C-475C-BE1B-71F2A70383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924" y="120925"/>
            <a:ext cx="6181051" cy="703912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struktur for BFV</a:t>
            </a:r>
          </a:p>
        </p:txBody>
      </p:sp>
      <p:graphicFrame>
        <p:nvGraphicFramePr>
          <p:cNvPr id="6" name="Plassholder for innhold 3">
            <a:extLst>
              <a:ext uri="{FF2B5EF4-FFF2-40B4-BE49-F238E27FC236}">
                <a16:creationId xmlns:a16="http://schemas.microsoft.com/office/drawing/2014/main" id="{4021FD2F-B5D7-40F2-A9DF-2F88800C0B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1313098"/>
              </p:ext>
            </p:extLst>
          </p:nvPr>
        </p:nvGraphicFramePr>
        <p:xfrm>
          <a:off x="4517971" y="3143250"/>
          <a:ext cx="6873930" cy="3593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BB106132-ABA8-4232-B8AD-F0B37B533BFE}"/>
              </a:ext>
            </a:extLst>
          </p:cNvPr>
          <p:cNvSpPr/>
          <p:nvPr/>
        </p:nvSpPr>
        <p:spPr>
          <a:xfrm>
            <a:off x="1469203" y="5845996"/>
            <a:ext cx="832208" cy="10120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222B78E-41E2-4B44-BC06-AE2D5A3D770D}"/>
              </a:ext>
            </a:extLst>
          </p:cNvPr>
          <p:cNvSpPr/>
          <p:nvPr/>
        </p:nvSpPr>
        <p:spPr>
          <a:xfrm>
            <a:off x="1231185" y="3830549"/>
            <a:ext cx="1070226" cy="2174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9498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93C59631-1A92-4AC1-B950-5D136C92D47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522"/>
          <a:stretch/>
        </p:blipFill>
        <p:spPr>
          <a:xfrm rot="5400000">
            <a:off x="3217068" y="-3229085"/>
            <a:ext cx="1028701" cy="7462838"/>
          </a:xfrm>
          <a:prstGeom prst="rect">
            <a:avLst/>
          </a:prstGeom>
        </p:spPr>
      </p:pic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0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8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0" y="388875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finansieringskilde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8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89" y="248812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58333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struktur BFV</a:t>
            </a:r>
            <a:endParaRPr lang="nb-NO" b="1">
              <a:solidFill>
                <a:schemeClr val="bg1"/>
              </a:solidFill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1" y="5267040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0" y="6097724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1" y="4167754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89" y="2767130"/>
            <a:ext cx="2" cy="2499911"/>
          </a:xfrm>
          <a:prstGeom prst="bentConnector3">
            <a:avLst>
              <a:gd name="adj1" fmla="val 1143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cxnSpLocks/>
            <a:stCxn id="14" idx="1"/>
            <a:endCxn id="114" idx="1"/>
          </p:cNvCxnSpPr>
          <p:nvPr/>
        </p:nvCxnSpPr>
        <p:spPr>
          <a:xfrm rot="10800000" flipH="1">
            <a:off x="6742390" y="3457956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cxnSpLocks/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cxnSpLocks/>
            <a:stCxn id="118" idx="1"/>
            <a:endCxn id="126" idx="1"/>
          </p:cNvCxnSpPr>
          <p:nvPr/>
        </p:nvCxnSpPr>
        <p:spPr>
          <a:xfrm rot="10800000">
            <a:off x="4828251" y="2734078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Rektangel 95">
            <a:extLst>
              <a:ext uri="{FF2B5EF4-FFF2-40B4-BE49-F238E27FC236}">
                <a16:creationId xmlns:a16="http://schemas.microsoft.com/office/drawing/2014/main" id="{EEDBDD10-71D4-469B-8C72-DD7801548819}"/>
              </a:ext>
            </a:extLst>
          </p:cNvPr>
          <p:cNvSpPr/>
          <p:nvPr/>
        </p:nvSpPr>
        <p:spPr>
          <a:xfrm>
            <a:off x="908131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alyse</a:t>
            </a:r>
          </a:p>
        </p:txBody>
      </p:sp>
      <p:sp>
        <p:nvSpPr>
          <p:cNvPr id="43" name="Multiplikasjonstegn 38">
            <a:extLst>
              <a:ext uri="{FF2B5EF4-FFF2-40B4-BE49-F238E27FC236}">
                <a16:creationId xmlns:a16="http://schemas.microsoft.com/office/drawing/2014/main" id="{818B01E0-FA83-450E-8E2E-530DE645C1E0}"/>
              </a:ext>
            </a:extLst>
          </p:cNvPr>
          <p:cNvSpPr/>
          <p:nvPr/>
        </p:nvSpPr>
        <p:spPr>
          <a:xfrm>
            <a:off x="9006137" y="4518929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CE6917A-F125-4F92-846A-03C6AF4D0FCB}"/>
              </a:ext>
            </a:extLst>
          </p:cNvPr>
          <p:cNvSpPr/>
          <p:nvPr/>
        </p:nvSpPr>
        <p:spPr>
          <a:xfrm>
            <a:off x="4828250" y="1040524"/>
            <a:ext cx="3339890" cy="5817461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0599DE-39D5-4FCE-86C9-5BE1B33061CA}"/>
              </a:ext>
            </a:extLst>
          </p:cNvPr>
          <p:cNvSpPr txBox="1"/>
          <p:nvPr/>
        </p:nvSpPr>
        <p:spPr>
          <a:xfrm>
            <a:off x="9010137" y="434497"/>
            <a:ext cx="2445945" cy="27003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Inndelingen i Aktivitetstype og Aktivitet er ment å dekke varige behov enhetene i hovedsak har for å følge opp aktiviteten innenfor sin bevilgningsøkonomi. </a:t>
            </a:r>
          </a:p>
          <a:p>
            <a:r>
              <a:rPr lang="nb-NO" sz="1400"/>
              <a:t>Vesentlige behov av mer </a:t>
            </a:r>
            <a:r>
              <a:rPr lang="nb-NO" sz="1400" u="sng"/>
              <a:t>midlertidig</a:t>
            </a:r>
            <a:r>
              <a:rPr lang="nb-NO" sz="1400"/>
              <a:t> karakter må dekkes gjennom prosjektstrukturen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E230AB8-25D6-450D-8BD8-B0E161407186}"/>
              </a:ext>
            </a:extLst>
          </p:cNvPr>
          <p:cNvSpPr txBox="1"/>
          <p:nvPr/>
        </p:nvSpPr>
        <p:spPr>
          <a:xfrm>
            <a:off x="188685" y="1306631"/>
            <a:ext cx="2738128" cy="248578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Prosjekt og hovedprosjekt benyttes kun ved særskilte behov for gruppering av delprosjekter. </a:t>
            </a:r>
          </a:p>
          <a:p>
            <a:endParaRPr lang="nb-NO" sz="1400"/>
          </a:p>
          <a:p>
            <a:r>
              <a:rPr lang="nb-NO" sz="1400"/>
              <a:t>Hierarki i prosjektstrukturen i tillegg vil øke kompleksiteten, og innføring av gruppering også i prosjekt bør derfor veies opp mot ulempene.</a:t>
            </a:r>
            <a:r>
              <a:rPr lang="nb-NO" sz="1400" b="1"/>
              <a:t> </a:t>
            </a:r>
            <a:endParaRPr lang="nb-NO" sz="1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7C2D278-ED52-4485-AC24-F20D6CE20EB9}"/>
              </a:ext>
            </a:extLst>
          </p:cNvPr>
          <p:cNvSpPr txBox="1"/>
          <p:nvPr/>
        </p:nvSpPr>
        <p:spPr>
          <a:xfrm>
            <a:off x="9010137" y="3201248"/>
            <a:ext cx="2445945" cy="578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Delprosjekt må benyttes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AD2EC23-E8C1-4F8C-B2A0-B62B80F47A3B}"/>
              </a:ext>
            </a:extLst>
          </p:cNvPr>
          <p:cNvSpPr/>
          <p:nvPr/>
        </p:nvSpPr>
        <p:spPr>
          <a:xfrm>
            <a:off x="6599489" y="1409676"/>
            <a:ext cx="1729663" cy="1802972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D5AAC8A-20E7-4B09-A4D5-FAE70CC5990D}"/>
              </a:ext>
            </a:extLst>
          </p:cNvPr>
          <p:cNvSpPr/>
          <p:nvPr/>
        </p:nvSpPr>
        <p:spPr>
          <a:xfrm>
            <a:off x="6545674" y="4557966"/>
            <a:ext cx="1729663" cy="1385180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83DF5CFC-DEB5-4D28-8ED6-BC8B24F8864F}"/>
              </a:ext>
            </a:extLst>
          </p:cNvPr>
          <p:cNvSpPr/>
          <p:nvPr/>
        </p:nvSpPr>
        <p:spPr>
          <a:xfrm>
            <a:off x="4612193" y="3792418"/>
            <a:ext cx="1905841" cy="2170243"/>
          </a:xfrm>
          <a:prstGeom prst="ellipse">
            <a:avLst/>
          </a:prstGeom>
          <a:noFill/>
          <a:ln w="3810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6189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2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3" grpId="0" animBg="1"/>
      <p:bldP spid="36" grpId="0" animBg="1"/>
      <p:bldP spid="37" grpId="0" animBg="1"/>
      <p:bldP spid="41" grpId="0" animBg="1"/>
      <p:bldP spid="41" grpId="1" animBg="1"/>
      <p:bldP spid="44" grpId="0" animBg="1"/>
      <p:bldP spid="44" grpId="1" animBg="1"/>
      <p:bldP spid="4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0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8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399" y="48014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1" y="478777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0" y="3888753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finansieringskilde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8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0" y="242173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2" y="4808214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1" y="5267040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0" y="6097724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leder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1" y="4167754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91" y="2700740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cxnSpLocks/>
            <a:stCxn id="14" idx="1"/>
            <a:endCxn id="114" idx="1"/>
          </p:cNvCxnSpPr>
          <p:nvPr/>
        </p:nvCxnSpPr>
        <p:spPr>
          <a:xfrm rot="10800000" flipH="1">
            <a:off x="6742390" y="3457956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cxnSpLocks/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cxnSpLocks/>
            <a:stCxn id="118" idx="1"/>
            <a:endCxn id="126" idx="1"/>
          </p:cNvCxnSpPr>
          <p:nvPr/>
        </p:nvCxnSpPr>
        <p:spPr>
          <a:xfrm rot="10800000">
            <a:off x="4828251" y="2734078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Bilde 3">
            <a:extLst>
              <a:ext uri="{FF2B5EF4-FFF2-40B4-BE49-F238E27FC236}">
                <a16:creationId xmlns:a16="http://schemas.microsoft.com/office/drawing/2014/main" id="{5C1EF5F4-6DC3-45A4-A8E4-5D80F5B41E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8685" y="1323718"/>
            <a:ext cx="3569750" cy="3070313"/>
          </a:xfrm>
          <a:prstGeom prst="rect">
            <a:avLst/>
          </a:prstGeom>
        </p:spPr>
      </p:pic>
      <p:sp>
        <p:nvSpPr>
          <p:cNvPr id="15" name="Pil: venstre 14">
            <a:extLst>
              <a:ext uri="{FF2B5EF4-FFF2-40B4-BE49-F238E27FC236}">
                <a16:creationId xmlns:a16="http://schemas.microsoft.com/office/drawing/2014/main" id="{D2E9D8B7-1553-4528-835C-2A62F3512EF2}"/>
              </a:ext>
            </a:extLst>
          </p:cNvPr>
          <p:cNvSpPr/>
          <p:nvPr/>
        </p:nvSpPr>
        <p:spPr>
          <a:xfrm rot="20615505" flipV="1">
            <a:off x="1640385" y="2501871"/>
            <a:ext cx="5222764" cy="96688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Pil: venstre 44">
            <a:extLst>
              <a:ext uri="{FF2B5EF4-FFF2-40B4-BE49-F238E27FC236}">
                <a16:creationId xmlns:a16="http://schemas.microsoft.com/office/drawing/2014/main" id="{CFA66FF9-F1A3-48C0-9215-7452062392E5}"/>
              </a:ext>
            </a:extLst>
          </p:cNvPr>
          <p:cNvSpPr/>
          <p:nvPr/>
        </p:nvSpPr>
        <p:spPr>
          <a:xfrm rot="20838102" flipV="1">
            <a:off x="2744631" y="2905227"/>
            <a:ext cx="4087685" cy="102707"/>
          </a:xfrm>
          <a:prstGeom prst="lef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15236943-0C67-4566-A1E9-4FF549AA566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23522"/>
          <a:stretch/>
        </p:blipFill>
        <p:spPr>
          <a:xfrm rot="5400000">
            <a:off x="3188532" y="-3219624"/>
            <a:ext cx="1028701" cy="7462838"/>
          </a:xfrm>
          <a:prstGeom prst="rect">
            <a:avLst/>
          </a:prstGeom>
        </p:spPr>
      </p:pic>
      <p:sp>
        <p:nvSpPr>
          <p:cNvPr id="42" name="Tittel 1">
            <a:extLst>
              <a:ext uri="{FF2B5EF4-FFF2-40B4-BE49-F238E27FC236}">
                <a16:creationId xmlns:a16="http://schemas.microsoft.com/office/drawing/2014/main" id="{710B1C46-74C9-4579-83EC-9BF23993DF08}"/>
              </a:ext>
            </a:extLst>
          </p:cNvPr>
          <p:cNvSpPr txBox="1">
            <a:spLocks/>
          </p:cNvSpPr>
          <p:nvPr/>
        </p:nvSpPr>
        <p:spPr>
          <a:xfrm>
            <a:off x="19659" y="130242"/>
            <a:ext cx="5833316" cy="772800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Prosjektstruktur BFV</a:t>
            </a:r>
            <a:endParaRPr lang="nb-NO" b="1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A53531A-43F2-4DC5-A2E6-F3DCB23EA9D5}"/>
              </a:ext>
            </a:extLst>
          </p:cNvPr>
          <p:cNvSpPr txBox="1"/>
          <p:nvPr/>
        </p:nvSpPr>
        <p:spPr>
          <a:xfrm>
            <a:off x="535361" y="977418"/>
            <a:ext cx="31805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>
                <a:solidFill>
                  <a:srgbClr val="9E0000"/>
                </a:solidFill>
              </a:rPr>
              <a:t>Eksempel fra BEVISST innsikt:</a:t>
            </a:r>
          </a:p>
        </p:txBody>
      </p:sp>
      <p:sp>
        <p:nvSpPr>
          <p:cNvPr id="9" name="Rektangel: avrundede hjørner 8">
            <a:extLst>
              <a:ext uri="{FF2B5EF4-FFF2-40B4-BE49-F238E27FC236}">
                <a16:creationId xmlns:a16="http://schemas.microsoft.com/office/drawing/2014/main" id="{CD80E80A-21A6-4BBE-A8AA-5D3DCF516EBA}"/>
              </a:ext>
            </a:extLst>
          </p:cNvPr>
          <p:cNvSpPr/>
          <p:nvPr/>
        </p:nvSpPr>
        <p:spPr>
          <a:xfrm>
            <a:off x="77222" y="952687"/>
            <a:ext cx="3792676" cy="3632254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33AA391-7232-421B-B0B6-B313738743E1}"/>
              </a:ext>
            </a:extLst>
          </p:cNvPr>
          <p:cNvSpPr txBox="1"/>
          <p:nvPr/>
        </p:nvSpPr>
        <p:spPr>
          <a:xfrm>
            <a:off x="8978698" y="130242"/>
            <a:ext cx="2445945" cy="270033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Inndelingen i Aktivitetstype og Aktivitet er ment å dekke varige behov enhetene i hovedsak har for å følge opp aktiviteten innenfor sin bevilgningsøkonomi. </a:t>
            </a:r>
          </a:p>
          <a:p>
            <a:r>
              <a:rPr lang="nb-NO" sz="1400"/>
              <a:t>Vesentlige behov av mer </a:t>
            </a:r>
            <a:r>
              <a:rPr lang="nb-NO" sz="1400" u="sng"/>
              <a:t>midlertidig</a:t>
            </a:r>
            <a:r>
              <a:rPr lang="nb-NO" sz="1400"/>
              <a:t> karakter må dekkes gjennom prosjektstrukturen.</a:t>
            </a:r>
          </a:p>
        </p:txBody>
      </p:sp>
    </p:spTree>
    <p:extLst>
      <p:ext uri="{BB962C8B-B14F-4D97-AF65-F5344CB8AC3E}">
        <p14:creationId xmlns:p14="http://schemas.microsoft.com/office/powerpoint/2010/main" val="1319397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45" grpId="0" animBg="1"/>
      <p:bldP spid="6" grpId="0"/>
      <p:bldP spid="9" grpId="0" animBg="1"/>
      <p:bldP spid="4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7BCA86E-7DF4-4028-92A4-11E593C6A574}"/>
              </a:ext>
            </a:extLst>
          </p:cNvPr>
          <p:cNvSpPr/>
          <p:nvPr/>
        </p:nvSpPr>
        <p:spPr>
          <a:xfrm>
            <a:off x="8835929" y="0"/>
            <a:ext cx="3346545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5CA5A2A1-11FE-4B34-820A-589A60792D44}"/>
              </a:ext>
            </a:extLst>
          </p:cNvPr>
          <p:cNvSpPr/>
          <p:nvPr/>
        </p:nvSpPr>
        <p:spPr>
          <a:xfrm>
            <a:off x="4546380" y="0"/>
            <a:ext cx="4216620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A7AC2C23-C3F2-458D-B933-0D008B031162}"/>
              </a:ext>
            </a:extLst>
          </p:cNvPr>
          <p:cNvSpPr/>
          <p:nvPr/>
        </p:nvSpPr>
        <p:spPr>
          <a:xfrm>
            <a:off x="1704180" y="1"/>
            <a:ext cx="2769270" cy="671512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3" name="Rectangle: Rounded Corners 502">
            <a:extLst>
              <a:ext uri="{FF2B5EF4-FFF2-40B4-BE49-F238E27FC236}">
                <a16:creationId xmlns:a16="http://schemas.microsoft.com/office/drawing/2014/main" id="{CEEB8AB5-A668-4F96-8EE1-C567695DF2E4}"/>
              </a:ext>
            </a:extLst>
          </p:cNvPr>
          <p:cNvSpPr/>
          <p:nvPr/>
        </p:nvSpPr>
        <p:spPr>
          <a:xfrm>
            <a:off x="48347" y="15530"/>
            <a:ext cx="1562100" cy="66995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48154" y="3009740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1637071"/>
            <a:ext cx="1696058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Strategisk aktivitet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13478" y="1994616"/>
            <a:ext cx="728542" cy="12194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5418776" y="458159"/>
            <a:ext cx="271873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Rekrutteringsstill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5418776" y="79740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trategiske investeringer i infrastruktu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5418776" y="1114034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- og formidlingstiltak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5418776" y="1446673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tiltak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5418777" y="1784816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novasjon og nyskaping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5418777" y="2124058"/>
            <a:ext cx="2718735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Øremerket faggrupper</a:t>
            </a: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5418777" y="2440691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strategiske tiltak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5416576" y="383343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drift individuelle midler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5418774" y="447593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drift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5416576" y="4794733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vestering infrastruktur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5416576" y="5103830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Generell infrastrukturdrift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5416576" y="540913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dministrativ drift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5416576" y="414471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- og formidlingsdrift</a:t>
            </a:r>
          </a:p>
        </p:txBody>
      </p: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602880"/>
            <a:ext cx="1480698" cy="139173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  <a:stCxn id="13" idx="3"/>
            <a:endCxn id="380" idx="1"/>
          </p:cNvCxnSpPr>
          <p:nvPr/>
        </p:nvCxnSpPr>
        <p:spPr>
          <a:xfrm flipV="1">
            <a:off x="3938078" y="1258755"/>
            <a:ext cx="1480698" cy="73586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 flipV="1">
            <a:off x="3938078" y="942122"/>
            <a:ext cx="1480698" cy="1052494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  <a:stCxn id="13" idx="3"/>
            <a:endCxn id="381" idx="1"/>
          </p:cNvCxnSpPr>
          <p:nvPr/>
        </p:nvCxnSpPr>
        <p:spPr>
          <a:xfrm flipV="1">
            <a:off x="3938078" y="1591394"/>
            <a:ext cx="1480698" cy="40322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13" idx="3"/>
            <a:endCxn id="382" idx="1"/>
          </p:cNvCxnSpPr>
          <p:nvPr/>
        </p:nvCxnSpPr>
        <p:spPr>
          <a:xfrm flipV="1">
            <a:off x="3938078" y="1929537"/>
            <a:ext cx="1480699" cy="650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13" idx="3"/>
            <a:endCxn id="383" idx="1"/>
          </p:cNvCxnSpPr>
          <p:nvPr/>
        </p:nvCxnSpPr>
        <p:spPr>
          <a:xfrm>
            <a:off x="3938078" y="1994616"/>
            <a:ext cx="1480699" cy="27416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13" idx="3"/>
            <a:endCxn id="384" idx="1"/>
          </p:cNvCxnSpPr>
          <p:nvPr/>
        </p:nvCxnSpPr>
        <p:spPr>
          <a:xfrm>
            <a:off x="3938078" y="1994616"/>
            <a:ext cx="1480699" cy="5907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562" idx="3"/>
            <a:endCxn id="391" idx="1"/>
          </p:cNvCxnSpPr>
          <p:nvPr/>
        </p:nvCxnSpPr>
        <p:spPr>
          <a:xfrm flipV="1">
            <a:off x="3929795" y="3978158"/>
            <a:ext cx="1486781" cy="152955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562" idx="3"/>
            <a:endCxn id="400" idx="1"/>
          </p:cNvCxnSpPr>
          <p:nvPr/>
        </p:nvCxnSpPr>
        <p:spPr>
          <a:xfrm flipV="1">
            <a:off x="3929795" y="4289432"/>
            <a:ext cx="1486781" cy="121827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562" idx="3"/>
            <a:endCxn id="392" idx="1"/>
          </p:cNvCxnSpPr>
          <p:nvPr/>
        </p:nvCxnSpPr>
        <p:spPr>
          <a:xfrm flipV="1">
            <a:off x="3929795" y="4620655"/>
            <a:ext cx="1488979" cy="88705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562" idx="3"/>
            <a:endCxn id="393" idx="1"/>
          </p:cNvCxnSpPr>
          <p:nvPr/>
        </p:nvCxnSpPr>
        <p:spPr>
          <a:xfrm flipV="1">
            <a:off x="3929795" y="4939454"/>
            <a:ext cx="1486781" cy="56825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562" idx="3"/>
            <a:endCxn id="394" idx="1"/>
          </p:cNvCxnSpPr>
          <p:nvPr/>
        </p:nvCxnSpPr>
        <p:spPr>
          <a:xfrm flipV="1">
            <a:off x="3929795" y="5248551"/>
            <a:ext cx="1486781" cy="25915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562" idx="3"/>
            <a:endCxn id="395" idx="1"/>
          </p:cNvCxnSpPr>
          <p:nvPr/>
        </p:nvCxnSpPr>
        <p:spPr>
          <a:xfrm>
            <a:off x="3929795" y="5507710"/>
            <a:ext cx="1486781" cy="4614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5416576" y="574296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entrale insentivmidler EU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5416576" y="6071584"/>
            <a:ext cx="2837348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e driftsaktiviteter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35935" y="5150165"/>
            <a:ext cx="1693860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Driftsaktivitet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13478" y="3214052"/>
            <a:ext cx="722457" cy="2293658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  <a:stCxn id="562" idx="3"/>
            <a:endCxn id="500" idx="1"/>
          </p:cNvCxnSpPr>
          <p:nvPr/>
        </p:nvCxnSpPr>
        <p:spPr>
          <a:xfrm>
            <a:off x="3929795" y="5507710"/>
            <a:ext cx="1486781" cy="70859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>
            <a:off x="3929795" y="5507710"/>
            <a:ext cx="1486781" cy="37997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08538FC-46CB-4AFA-92BE-E6EB2C995F0B}"/>
              </a:ext>
            </a:extLst>
          </p:cNvPr>
          <p:cNvSpPr txBox="1"/>
          <p:nvPr/>
        </p:nvSpPr>
        <p:spPr>
          <a:xfrm>
            <a:off x="9260947" y="413918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Bachelor </a:t>
            </a:r>
            <a:r>
              <a:rPr lang="nb-NO" sz="1100" err="1">
                <a:solidFill>
                  <a:schemeClr val="bg1"/>
                </a:solidFill>
              </a:rPr>
              <a:t>fysio</a:t>
            </a:r>
            <a:endParaRPr lang="nb-NO" sz="1100">
              <a:solidFill>
                <a:schemeClr val="bg1"/>
              </a:solidFill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8016F43-90FE-46DB-A7E4-733125CB7413}"/>
              </a:ext>
            </a:extLst>
          </p:cNvPr>
          <p:cNvSpPr txBox="1"/>
          <p:nvPr/>
        </p:nvSpPr>
        <p:spPr>
          <a:xfrm>
            <a:off x="9260947" y="448927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Bachelor ergo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AECF552-D2AA-48DD-803C-C3CDDF9E9006}"/>
              </a:ext>
            </a:extLst>
          </p:cNvPr>
          <p:cNvSpPr txBox="1"/>
          <p:nvPr/>
        </p:nvSpPr>
        <p:spPr>
          <a:xfrm>
            <a:off x="9260947" y="483936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riftsmidler Master i </a:t>
            </a:r>
            <a:r>
              <a:rPr lang="nb-NO" sz="1100" err="1">
                <a:solidFill>
                  <a:schemeClr val="bg1"/>
                </a:solidFill>
              </a:rPr>
              <a:t>bev.vit</a:t>
            </a:r>
            <a:endParaRPr lang="nb-NO" sz="1100">
              <a:solidFill>
                <a:schemeClr val="bg1"/>
              </a:solidFill>
            </a:endParaRPr>
          </a:p>
        </p:txBody>
      </p: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C809E2C5-B3A4-4052-B7CE-57010C6B7D27}"/>
              </a:ext>
            </a:extLst>
          </p:cNvPr>
          <p:cNvCxnSpPr>
            <a:cxnSpLocks/>
            <a:stCxn id="392" idx="3"/>
            <a:endCxn id="122" idx="1"/>
          </p:cNvCxnSpPr>
          <p:nvPr/>
        </p:nvCxnSpPr>
        <p:spPr>
          <a:xfrm flipV="1">
            <a:off x="8253924" y="4283905"/>
            <a:ext cx="1007023" cy="33675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43F25810-6D8C-4D1E-B9D4-1C640C40C172}"/>
              </a:ext>
            </a:extLst>
          </p:cNvPr>
          <p:cNvCxnSpPr>
            <a:cxnSpLocks/>
            <a:stCxn id="392" idx="3"/>
            <a:endCxn id="123" idx="1"/>
          </p:cNvCxnSpPr>
          <p:nvPr/>
        </p:nvCxnSpPr>
        <p:spPr>
          <a:xfrm>
            <a:off x="8253924" y="4620655"/>
            <a:ext cx="1007023" cy="1334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FB64B794-A6E6-4C85-BE9F-49FA04E81D8A}"/>
              </a:ext>
            </a:extLst>
          </p:cNvPr>
          <p:cNvCxnSpPr>
            <a:cxnSpLocks/>
            <a:stCxn id="392" idx="3"/>
            <a:endCxn id="124" idx="1"/>
          </p:cNvCxnSpPr>
          <p:nvPr/>
        </p:nvCxnSpPr>
        <p:spPr>
          <a:xfrm>
            <a:off x="8253924" y="4620655"/>
            <a:ext cx="1007023" cy="363430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4BAE53F-E334-4874-BBE1-61E154EF79FE}"/>
              </a:ext>
            </a:extLst>
          </p:cNvPr>
          <p:cNvSpPr txBox="1"/>
          <p:nvPr/>
        </p:nvSpPr>
        <p:spPr>
          <a:xfrm>
            <a:off x="9260947" y="652680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strument X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47A9CAF-9D8D-4E17-8C1A-9BE1BE68EDB2}"/>
              </a:ext>
            </a:extLst>
          </p:cNvPr>
          <p:cNvSpPr txBox="1"/>
          <p:nvPr/>
        </p:nvSpPr>
        <p:spPr>
          <a:xfrm>
            <a:off x="9260947" y="1012497"/>
            <a:ext cx="2720846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strument Z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1042028-D2DC-491C-A5ED-8D89E7CD2185}"/>
              </a:ext>
            </a:extLst>
          </p:cNvPr>
          <p:cNvCxnSpPr>
            <a:cxnSpLocks/>
            <a:stCxn id="379" idx="3"/>
            <a:endCxn id="134" idx="1"/>
          </p:cNvCxnSpPr>
          <p:nvPr/>
        </p:nvCxnSpPr>
        <p:spPr>
          <a:xfrm flipV="1">
            <a:off x="8139622" y="797401"/>
            <a:ext cx="1121325" cy="14472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31669D5-3239-4618-8AE1-3B2AB347EDA2}"/>
              </a:ext>
            </a:extLst>
          </p:cNvPr>
          <p:cNvCxnSpPr>
            <a:cxnSpLocks/>
            <a:stCxn id="379" idx="3"/>
            <a:endCxn id="135" idx="1"/>
          </p:cNvCxnSpPr>
          <p:nvPr/>
        </p:nvCxnSpPr>
        <p:spPr>
          <a:xfrm>
            <a:off x="8139622" y="942122"/>
            <a:ext cx="1121325" cy="21509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1C53934C-B3CE-4DE7-A61E-AFA588D652D8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0534D7A-B11C-4EE8-9D5D-9720911F00E3}"/>
              </a:ext>
            </a:extLst>
          </p:cNvPr>
          <p:cNvSpPr txBox="1"/>
          <p:nvPr/>
        </p:nvSpPr>
        <p:spPr>
          <a:xfrm>
            <a:off x="2185382" y="-8337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C436787-F67B-414E-8AEC-6B4C36F43ECE}"/>
              </a:ext>
            </a:extLst>
          </p:cNvPr>
          <p:cNvSpPr txBox="1"/>
          <p:nvPr/>
        </p:nvSpPr>
        <p:spPr>
          <a:xfrm>
            <a:off x="5880661" y="39026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4657A7B-9281-48BE-AEA7-CB62137E8469}"/>
              </a:ext>
            </a:extLst>
          </p:cNvPr>
          <p:cNvSpPr txBox="1"/>
          <p:nvPr/>
        </p:nvSpPr>
        <p:spPr>
          <a:xfrm>
            <a:off x="9611718" y="45015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B081A1A-68B5-47D5-9612-F4A7C288B9E8}"/>
              </a:ext>
            </a:extLst>
          </p:cNvPr>
          <p:cNvSpPr txBox="1"/>
          <p:nvPr/>
        </p:nvSpPr>
        <p:spPr>
          <a:xfrm>
            <a:off x="9455548" y="1398383"/>
            <a:ext cx="2445945" cy="17706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: </a:t>
            </a:r>
            <a:r>
              <a:rPr lang="nb-NO" sz="1400"/>
              <a:t>Investeringer som ønskes løftes til NTNUs investeringsplan og finansieres av avsetninger må ha eget delprosjektnummer.</a:t>
            </a:r>
          </a:p>
          <a:p>
            <a:endParaRPr lang="nb-NO" sz="140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6A8ECB4-0BD3-426A-90FE-97D7E7B7C4AC}"/>
              </a:ext>
            </a:extLst>
          </p:cNvPr>
          <p:cNvSpPr txBox="1"/>
          <p:nvPr/>
        </p:nvSpPr>
        <p:spPr>
          <a:xfrm>
            <a:off x="9455549" y="5330862"/>
            <a:ext cx="2445945" cy="10556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: </a:t>
            </a:r>
            <a:r>
              <a:rPr lang="nb-NO" sz="1400"/>
              <a:t>Opprette minimum ett delprosjekt for å samle kostnader knyttet til et studieprogram.</a:t>
            </a:r>
          </a:p>
        </p:txBody>
      </p:sp>
    </p:spTree>
    <p:extLst>
      <p:ext uri="{BB962C8B-B14F-4D97-AF65-F5344CB8AC3E}">
        <p14:creationId xmlns:p14="http://schemas.microsoft.com/office/powerpoint/2010/main" val="40252557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4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4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4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4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4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4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7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3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3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1000"/>
                                        <p:tgtEl>
                                          <p:spTgt spid="3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3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3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4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1000"/>
                                        <p:tgtEl>
                                          <p:spTgt spid="4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 fill="hold"/>
                                        <p:tgtEl>
                                          <p:spTgt spid="4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4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4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1000"/>
                                        <p:tgtEl>
                                          <p:spTgt spid="4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4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4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4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000"/>
                                        <p:tgtEl>
                                          <p:spTgt spid="4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4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1000"/>
                                        <p:tgtEl>
                                          <p:spTgt spid="5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5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1000"/>
                                        <p:tgtEl>
                                          <p:spTgt spid="5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1000" fill="hold"/>
                                        <p:tgtEl>
                                          <p:spTgt spid="5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000"/>
                                        <p:tgtEl>
                                          <p:spTgt spid="5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5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4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1000" fill="hold"/>
                                        <p:tgtEl>
                                          <p:spTgt spid="4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3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3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3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3" dur="10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3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10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9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1000" fill="hold"/>
                                        <p:tgtEl>
                                          <p:spTgt spid="4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100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4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000" fill="hold"/>
                                        <p:tgtEl>
                                          <p:spTgt spid="3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1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1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2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1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1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6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8" fill="hold">
                      <p:stCondLst>
                        <p:cond delay="indefinite"/>
                      </p:stCondLst>
                      <p:childTnLst>
                        <p:par>
                          <p:cTn id="209" fill="hold">
                            <p:stCondLst>
                              <p:cond delay="0"/>
                            </p:stCondLst>
                            <p:childTnLst>
                              <p:par>
                                <p:cTn id="2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2" dur="10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3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4" dur="1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7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8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3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4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7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8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9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10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3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10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0" fill="hold">
                      <p:stCondLst>
                        <p:cond delay="indefinite"/>
                      </p:stCondLst>
                      <p:childTnLst>
                        <p:par>
                          <p:cTn id="241" fill="hold">
                            <p:stCondLst>
                              <p:cond delay="0"/>
                            </p:stCondLst>
                            <p:childTnLst>
                              <p:par>
                                <p:cTn id="24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7" fill="hold">
                      <p:stCondLst>
                        <p:cond delay="indefinite"/>
                      </p:stCondLst>
                      <p:childTnLst>
                        <p:par>
                          <p:cTn id="248" fill="hold">
                            <p:stCondLst>
                              <p:cond delay="0"/>
                            </p:stCondLst>
                            <p:childTnLst>
                              <p:par>
                                <p:cTn id="24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1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2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122" grpId="0" animBg="1"/>
      <p:bldP spid="123" grpId="0" animBg="1"/>
      <p:bldP spid="124" grpId="0" animBg="1"/>
      <p:bldP spid="134" grpId="0" animBg="1"/>
      <p:bldP spid="135" grpId="0" animBg="1"/>
      <p:bldP spid="55" grpId="0" animBg="1"/>
      <p:bldP spid="5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49B0B23-CAEC-4927-9B49-6E6FEFCE66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332905" y="-5346382"/>
            <a:ext cx="1526192" cy="1219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011448-84EC-4AE9-8CAA-87B296894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785" y="152203"/>
            <a:ext cx="10515600" cy="934491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RD: Hvordan kan vi bruke dett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FE9B9-FD9A-4FA7-808C-3A53531F28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6977" y="2874129"/>
            <a:ext cx="4888787" cy="29311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A097DC7-EB13-4A29-A1A2-FE29341CF6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6368" y="3373572"/>
            <a:ext cx="4956277" cy="29311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24F6F4-B6DC-4419-9F56-94E501FB8B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3785" y="2159425"/>
            <a:ext cx="2804614" cy="477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619D0A-B6DC-473E-A8A0-BA41706C083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8398" y="2159424"/>
            <a:ext cx="3149521" cy="477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75B180-81B6-40D7-B09C-FD56F8888296}"/>
              </a:ext>
            </a:extLst>
          </p:cNvPr>
          <p:cNvSpPr txBox="1"/>
          <p:nvPr/>
        </p:nvSpPr>
        <p:spPr>
          <a:xfrm>
            <a:off x="752690" y="2255823"/>
            <a:ext cx="18597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/>
              <a:t>Strategiske aktivitet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A50C7C-5A33-43C9-8D0B-37A57C21258F}"/>
              </a:ext>
            </a:extLst>
          </p:cNvPr>
          <p:cNvSpPr txBox="1"/>
          <p:nvPr/>
        </p:nvSpPr>
        <p:spPr>
          <a:xfrm>
            <a:off x="3590269" y="2286601"/>
            <a:ext cx="257784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 dirty="0">
                <a:latin typeface="Calibri" panose="020F0502020204030204" pitchFamily="34" charset="0"/>
              </a:rPr>
              <a:t>Strategiske investeringer i infrastruktur</a:t>
            </a:r>
            <a:endParaRPr lang="nb-NO" sz="1200" dirty="0">
              <a:latin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BA8D0A-5905-492A-BBBA-3447C09912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50823" y="2159425"/>
            <a:ext cx="2804614" cy="4779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D6A5B-D884-4708-84A4-207587B0CBA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436" y="2159424"/>
            <a:ext cx="2567209" cy="4779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1BE19D-1E4E-49DD-A957-4AD36DE9CD74}"/>
              </a:ext>
            </a:extLst>
          </p:cNvPr>
          <p:cNvSpPr txBox="1"/>
          <p:nvPr/>
        </p:nvSpPr>
        <p:spPr>
          <a:xfrm>
            <a:off x="6739728" y="2247114"/>
            <a:ext cx="204686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/>
              <a:t>Driftsaktivit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0FFA2-3C7B-4EB3-914A-8AA4E6DB7128}"/>
              </a:ext>
            </a:extLst>
          </p:cNvPr>
          <p:cNvSpPr txBox="1"/>
          <p:nvPr/>
        </p:nvSpPr>
        <p:spPr>
          <a:xfrm>
            <a:off x="9511438" y="2259882"/>
            <a:ext cx="18423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>
                <a:latin typeface="Calibri" panose="020F0502020204030204" pitchFamily="34" charset="0"/>
              </a:rPr>
              <a:t>Utdanningsdrift</a:t>
            </a:r>
            <a:endParaRPr lang="nb-NO" sz="1400" dirty="0"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506A42-DE38-4CF1-966E-54353EFC5AEB}"/>
              </a:ext>
            </a:extLst>
          </p:cNvPr>
          <p:cNvSpPr/>
          <p:nvPr/>
        </p:nvSpPr>
        <p:spPr>
          <a:xfrm>
            <a:off x="263785" y="201168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D5BD50-E909-4989-9E6D-F447191ADD31}"/>
              </a:ext>
            </a:extLst>
          </p:cNvPr>
          <p:cNvSpPr/>
          <p:nvPr/>
        </p:nvSpPr>
        <p:spPr>
          <a:xfrm>
            <a:off x="6271272" y="1993960"/>
            <a:ext cx="5846083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FBE4828-7300-4A6D-9799-9E2532F0CD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55435" y="2640670"/>
            <a:ext cx="2567209" cy="47791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BFAADA8-F512-4799-B35A-F1B1BA139FBC}"/>
              </a:ext>
            </a:extLst>
          </p:cNvPr>
          <p:cNvSpPr txBox="1"/>
          <p:nvPr/>
        </p:nvSpPr>
        <p:spPr>
          <a:xfrm>
            <a:off x="9511437" y="2741128"/>
            <a:ext cx="184236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 dirty="0">
                <a:latin typeface="Calibri" panose="020F0502020204030204" pitchFamily="34" charset="0"/>
              </a:rPr>
              <a:t>XXXXX Bachelor i </a:t>
            </a:r>
            <a:r>
              <a:rPr lang="nb-NO" sz="1400" dirty="0" err="1">
                <a:latin typeface="Calibri" panose="020F0502020204030204" pitchFamily="34" charset="0"/>
              </a:rPr>
              <a:t>fysio</a:t>
            </a:r>
            <a:endParaRPr lang="nb-NO" sz="1400" dirty="0">
              <a:latin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C08C177-075B-4BBB-A837-BEBEB7AFCB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68398" y="2656395"/>
            <a:ext cx="3149521" cy="47791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0D87F4B1-6E33-4311-B040-04F688B515DD}"/>
              </a:ext>
            </a:extLst>
          </p:cNvPr>
          <p:cNvSpPr txBox="1"/>
          <p:nvPr/>
        </p:nvSpPr>
        <p:spPr>
          <a:xfrm>
            <a:off x="3590269" y="2783572"/>
            <a:ext cx="257784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 dirty="0">
                <a:latin typeface="Calibri" panose="020F0502020204030204" pitchFamily="34" charset="0"/>
              </a:rPr>
              <a:t>Instrument X</a:t>
            </a:r>
            <a:endParaRPr lang="nb-NO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842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2" grpId="0" animBg="1"/>
      <p:bldP spid="13" grpId="0" animBg="1"/>
      <p:bldP spid="18" grpId="0" animBg="1"/>
      <p:bldP spid="2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2" y="5901586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4" y="5905310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-sted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08" y="3728992"/>
            <a:ext cx="3742943" cy="233779"/>
          </a:xfrm>
          <a:prstGeom prst="bentConnector4">
            <a:avLst>
              <a:gd name="adj1" fmla="val 10937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6" idx="1"/>
            <a:endCxn id="33" idx="1"/>
          </p:cNvCxnSpPr>
          <p:nvPr/>
        </p:nvCxnSpPr>
        <p:spPr>
          <a:xfrm rot="10800000">
            <a:off x="4831343" y="3449972"/>
            <a:ext cx="12700" cy="1825946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</a:t>
            </a:r>
          </a:p>
        </p:txBody>
      </p:sp>
      <p:sp>
        <p:nvSpPr>
          <p:cNvPr id="16" name="Rektangel 15"/>
          <p:cNvSpPr/>
          <p:nvPr/>
        </p:nvSpPr>
        <p:spPr>
          <a:xfrm>
            <a:off x="4831343" y="4810294"/>
            <a:ext cx="1461600" cy="93124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31" name="Rektangel 30"/>
          <p:cNvSpPr/>
          <p:nvPr/>
        </p:nvSpPr>
        <p:spPr>
          <a:xfrm>
            <a:off x="4831343" y="3907736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ktangel 32"/>
          <p:cNvSpPr/>
          <p:nvPr/>
        </p:nvSpPr>
        <p:spPr>
          <a:xfrm>
            <a:off x="4831343" y="3170972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399" y="48014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49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1" y="478777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  <a:endCxn id="16" idx="2"/>
          </p:cNvCxnSpPr>
          <p:nvPr/>
        </p:nvCxnSpPr>
        <p:spPr>
          <a:xfrm rot="5400000">
            <a:off x="6513228" y="4781579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7" name="Rektangel 32">
            <a:extLst>
              <a:ext uri="{FF2B5EF4-FFF2-40B4-BE49-F238E27FC236}">
                <a16:creationId xmlns:a16="http://schemas.microsoft.com/office/drawing/2014/main" id="{8DC7B3C4-DBD9-46C3-91AD-0B8866F2BAA8}"/>
              </a:ext>
            </a:extLst>
          </p:cNvPr>
          <p:cNvSpPr/>
          <p:nvPr/>
        </p:nvSpPr>
        <p:spPr>
          <a:xfrm>
            <a:off x="4831343" y="2444644"/>
            <a:ext cx="1461600" cy="558000"/>
          </a:xfrm>
          <a:prstGeom prst="rect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90773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esifisering av finansieringskild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42391" y="3178956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0" y="2421739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0" name="Connector: Elbow 119">
            <a:extLst>
              <a:ext uri="{FF2B5EF4-FFF2-40B4-BE49-F238E27FC236}">
                <a16:creationId xmlns:a16="http://schemas.microsoft.com/office/drawing/2014/main" id="{36328714-4640-411E-89A2-5A89C728CA9E}"/>
              </a:ext>
            </a:extLst>
          </p:cNvPr>
          <p:cNvCxnSpPr>
            <a:cxnSpLocks/>
            <a:stCxn id="16" idx="1"/>
            <a:endCxn id="87" idx="1"/>
          </p:cNvCxnSpPr>
          <p:nvPr/>
        </p:nvCxnSpPr>
        <p:spPr>
          <a:xfrm rot="10800000">
            <a:off x="4831343" y="2723644"/>
            <a:ext cx="12700" cy="2552274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0" y="1695411"/>
            <a:ext cx="1461600" cy="5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ktivitets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25" name="Straight Arrow Connector 124">
            <a:extLst>
              <a:ext uri="{FF2B5EF4-FFF2-40B4-BE49-F238E27FC236}">
                <a16:creationId xmlns:a16="http://schemas.microsoft.com/office/drawing/2014/main" id="{AFAA347D-8B7A-481A-A88E-7FA2CA3B4FCB}"/>
              </a:ext>
            </a:extLst>
          </p:cNvPr>
          <p:cNvCxnSpPr>
            <a:cxnSpLocks/>
          </p:cNvCxnSpPr>
          <p:nvPr/>
        </p:nvCxnSpPr>
        <p:spPr>
          <a:xfrm flipV="1">
            <a:off x="6517419" y="3507727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A1ED4641-0A81-4F6B-876A-80F67F751195}"/>
              </a:ext>
            </a:extLst>
          </p:cNvPr>
          <p:cNvCxnSpPr>
            <a:cxnSpLocks/>
          </p:cNvCxnSpPr>
          <p:nvPr/>
        </p:nvCxnSpPr>
        <p:spPr>
          <a:xfrm flipV="1">
            <a:off x="6517419" y="4195693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7633518" y="3140289"/>
            <a:ext cx="1853130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Bevilgning fra KD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7640753" y="4745824"/>
            <a:ext cx="2501729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800000001 Utdanningsdrift studieprogram X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7643441" y="3916277"/>
            <a:ext cx="1865400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RD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7607271" y="1571117"/>
            <a:ext cx="1859485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Driftsaktivitet</a:t>
            </a:r>
          </a:p>
        </p:txBody>
      </p:sp>
      <p:cxnSp>
        <p:nvCxnSpPr>
          <p:cNvPr id="56" name="Straight Arrow Connector 126">
            <a:extLst>
              <a:ext uri="{FF2B5EF4-FFF2-40B4-BE49-F238E27FC236}">
                <a16:creationId xmlns:a16="http://schemas.microsoft.com/office/drawing/2014/main" id="{17F2185D-1E16-420D-A6C0-6A2464ED4FF9}"/>
              </a:ext>
            </a:extLst>
          </p:cNvPr>
          <p:cNvCxnSpPr>
            <a:cxnSpLocks/>
          </p:cNvCxnSpPr>
          <p:nvPr/>
        </p:nvCxnSpPr>
        <p:spPr>
          <a:xfrm flipV="1">
            <a:off x="6516791" y="2696577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126">
            <a:extLst>
              <a:ext uri="{FF2B5EF4-FFF2-40B4-BE49-F238E27FC236}">
                <a16:creationId xmlns:a16="http://schemas.microsoft.com/office/drawing/2014/main" id="{5BE03D7E-A1A5-4A0D-A8DE-0455181BEBDE}"/>
              </a:ext>
            </a:extLst>
          </p:cNvPr>
          <p:cNvCxnSpPr>
            <a:cxnSpLocks/>
          </p:cNvCxnSpPr>
          <p:nvPr/>
        </p:nvCxnSpPr>
        <p:spPr>
          <a:xfrm flipV="1">
            <a:off x="4593559" y="4198535"/>
            <a:ext cx="217647" cy="190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kstSylinder 101">
            <a:extLst>
              <a:ext uri="{FF2B5EF4-FFF2-40B4-BE49-F238E27FC236}">
                <a16:creationId xmlns:a16="http://schemas.microsoft.com/office/drawing/2014/main" id="{51689D25-2CD0-43E8-A789-36AA972C4288}"/>
              </a:ext>
            </a:extLst>
          </p:cNvPr>
          <p:cNvSpPr txBox="1"/>
          <p:nvPr/>
        </p:nvSpPr>
        <p:spPr>
          <a:xfrm>
            <a:off x="7640752" y="2329040"/>
            <a:ext cx="1859485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Utdanningsdrift</a:t>
            </a:r>
          </a:p>
        </p:txBody>
      </p:sp>
      <p:sp>
        <p:nvSpPr>
          <p:cNvPr id="38" name="Snakkeboble: rektangel med avrundede hjørner 43">
            <a:extLst>
              <a:ext uri="{FF2B5EF4-FFF2-40B4-BE49-F238E27FC236}">
                <a16:creationId xmlns:a16="http://schemas.microsoft.com/office/drawing/2014/main" id="{4E52F797-1CFD-4547-907B-5D9C8EA96AF2}"/>
              </a:ext>
            </a:extLst>
          </p:cNvPr>
          <p:cNvSpPr/>
          <p:nvPr/>
        </p:nvSpPr>
        <p:spPr>
          <a:xfrm>
            <a:off x="2258317" y="3172715"/>
            <a:ext cx="2585726" cy="1638058"/>
          </a:xfrm>
          <a:prstGeom prst="wedgeRoundRectCallout">
            <a:avLst>
              <a:gd name="adj1" fmla="val 48549"/>
              <a:gd name="adj2" fmla="val 67817"/>
              <a:gd name="adj3" fmla="val 1666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nb-NO" sz="1400" b="1"/>
              <a:t>Anbefaling:</a:t>
            </a:r>
          </a:p>
          <a:p>
            <a:r>
              <a:rPr lang="nb-NO" sz="1400"/>
              <a:t>Inndeling i prosjekt bør kun skje der man vurderer det er vesentlige behov som ikke dekkes gjennom øvrige elementer i økonomimodellen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3312508-E101-4250-A3A9-9F197598320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522"/>
          <a:stretch/>
        </p:blipFill>
        <p:spPr>
          <a:xfrm rot="5400000">
            <a:off x="5576064" y="-5588081"/>
            <a:ext cx="1028701" cy="12180831"/>
          </a:xfrm>
          <a:prstGeom prst="rect">
            <a:avLst/>
          </a:prstGeom>
        </p:spPr>
      </p:pic>
      <p:sp>
        <p:nvSpPr>
          <p:cNvPr id="39" name="Tittel 1">
            <a:extLst>
              <a:ext uri="{FF2B5EF4-FFF2-40B4-BE49-F238E27FC236}">
                <a16:creationId xmlns:a16="http://schemas.microsoft.com/office/drawing/2014/main" id="{2A57BE38-8753-48D7-8E9A-90E60BC4E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94" y="120781"/>
            <a:ext cx="9418561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struktur BFV – et eksempel</a:t>
            </a:r>
            <a:endParaRPr lang="nb-NO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0600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65" grpId="0" animBg="1"/>
      <p:bldP spid="67" grpId="0" animBg="1"/>
      <p:bldP spid="72" grpId="0" animBg="1"/>
      <p:bldP spid="102" grpId="0" animBg="1"/>
      <p:bldP spid="3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Rectangle: Rounded Corners 575">
            <a:extLst>
              <a:ext uri="{FF2B5EF4-FFF2-40B4-BE49-F238E27FC236}">
                <a16:creationId xmlns:a16="http://schemas.microsoft.com/office/drawing/2014/main" id="{62F686D8-4F64-40B1-A1B0-756F3AC33C41}"/>
              </a:ext>
            </a:extLst>
          </p:cNvPr>
          <p:cNvSpPr/>
          <p:nvPr/>
        </p:nvSpPr>
        <p:spPr>
          <a:xfrm>
            <a:off x="9312180" y="0"/>
            <a:ext cx="2870294" cy="6858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7" name="Rectangle: Rounded Corners 576">
            <a:extLst>
              <a:ext uri="{FF2B5EF4-FFF2-40B4-BE49-F238E27FC236}">
                <a16:creationId xmlns:a16="http://schemas.microsoft.com/office/drawing/2014/main" id="{84BE822D-96E1-4934-91D2-4538C51EA664}"/>
              </a:ext>
            </a:extLst>
          </p:cNvPr>
          <p:cNvSpPr/>
          <p:nvPr/>
        </p:nvSpPr>
        <p:spPr>
          <a:xfrm>
            <a:off x="4546380" y="0"/>
            <a:ext cx="4692870" cy="68580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8" name="Rectangle: Rounded Corners 577">
            <a:extLst>
              <a:ext uri="{FF2B5EF4-FFF2-40B4-BE49-F238E27FC236}">
                <a16:creationId xmlns:a16="http://schemas.microsoft.com/office/drawing/2014/main" id="{9711FF03-DFCC-46F6-8FBF-D8C8ECAE6D83}"/>
              </a:ext>
            </a:extLst>
          </p:cNvPr>
          <p:cNvSpPr/>
          <p:nvPr/>
        </p:nvSpPr>
        <p:spPr>
          <a:xfrm>
            <a:off x="1704180" y="0"/>
            <a:ext cx="2769270" cy="6857999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79" name="Rectangle: Rounded Corners 578">
            <a:extLst>
              <a:ext uri="{FF2B5EF4-FFF2-40B4-BE49-F238E27FC236}">
                <a16:creationId xmlns:a16="http://schemas.microsoft.com/office/drawing/2014/main" id="{9CAFAD6D-4B48-4BAD-BE69-C0F3E15D695E}"/>
              </a:ext>
            </a:extLst>
          </p:cNvPr>
          <p:cNvSpPr/>
          <p:nvPr/>
        </p:nvSpPr>
        <p:spPr>
          <a:xfrm>
            <a:off x="48347" y="15530"/>
            <a:ext cx="1562100" cy="6811856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74588" y="3366854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SO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265626"/>
            <a:ext cx="1696058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Tverrgående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AD6308-5498-4E48-BB0B-5066FE482164}"/>
              </a:ext>
            </a:extLst>
          </p:cNvPr>
          <p:cNvSpPr txBox="1"/>
          <p:nvPr/>
        </p:nvSpPr>
        <p:spPr>
          <a:xfrm>
            <a:off x="2261714" y="5373522"/>
            <a:ext cx="1693860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Organisasjon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39912" y="623171"/>
            <a:ext cx="702108" cy="294799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AFD6496C-5A92-4AE1-AD8C-16FBB9BD1C5E}"/>
              </a:ext>
            </a:extLst>
          </p:cNvPr>
          <p:cNvCxnSpPr>
            <a:cxnSpLocks/>
            <a:stCxn id="12" idx="3"/>
            <a:endCxn id="63" idx="1"/>
          </p:cNvCxnSpPr>
          <p:nvPr/>
        </p:nvCxnSpPr>
        <p:spPr>
          <a:xfrm>
            <a:off x="1539912" y="3571166"/>
            <a:ext cx="739690" cy="119769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99BC2B5F-5487-4015-82FD-30EE02EFA8E3}"/>
              </a:ext>
            </a:extLst>
          </p:cNvPr>
          <p:cNvSpPr txBox="1"/>
          <p:nvPr/>
        </p:nvSpPr>
        <p:spPr>
          <a:xfrm>
            <a:off x="2242020" y="1670535"/>
            <a:ext cx="1703976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Forskn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E1288E1-1783-404A-BCC7-5793585A1EB6}"/>
              </a:ext>
            </a:extLst>
          </p:cNvPr>
          <p:cNvSpPr txBox="1"/>
          <p:nvPr/>
        </p:nvSpPr>
        <p:spPr>
          <a:xfrm>
            <a:off x="2279602" y="4411311"/>
            <a:ext cx="1628811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Nyskap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AB4AEF0-5B50-4502-BB8B-5A18204D8F5F}"/>
              </a:ext>
            </a:extLst>
          </p:cNvPr>
          <p:cNvSpPr txBox="1"/>
          <p:nvPr/>
        </p:nvSpPr>
        <p:spPr>
          <a:xfrm>
            <a:off x="2242020" y="3206131"/>
            <a:ext cx="1693861" cy="715089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Utdanning</a:t>
            </a:r>
          </a:p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6001852" y="16157"/>
            <a:ext cx="2832951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investeringer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6001853" y="355399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Andre prosjekter</a:t>
            </a:r>
          </a:p>
        </p:txBody>
      </p:sp>
      <p:sp>
        <p:nvSpPr>
          <p:cNvPr id="380" name="TextBox 379">
            <a:extLst>
              <a:ext uri="{FF2B5EF4-FFF2-40B4-BE49-F238E27FC236}">
                <a16:creationId xmlns:a16="http://schemas.microsoft.com/office/drawing/2014/main" id="{AFEAB75E-53F1-4DF6-A356-A04C820C967A}"/>
              </a:ext>
            </a:extLst>
          </p:cNvPr>
          <p:cNvSpPr txBox="1"/>
          <p:nvPr/>
        </p:nvSpPr>
        <p:spPr>
          <a:xfrm>
            <a:off x="6001853" y="672032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Omstilling</a:t>
            </a:r>
          </a:p>
        </p:txBody>
      </p:sp>
      <p:sp>
        <p:nvSpPr>
          <p:cNvPr id="381" name="TextBox 380">
            <a:extLst>
              <a:ext uri="{FF2B5EF4-FFF2-40B4-BE49-F238E27FC236}">
                <a16:creationId xmlns:a16="http://schemas.microsoft.com/office/drawing/2014/main" id="{F7F115BC-0D23-496A-B393-72E0A8C49B93}"/>
              </a:ext>
            </a:extLst>
          </p:cNvPr>
          <p:cNvSpPr txBox="1"/>
          <p:nvPr/>
        </p:nvSpPr>
        <p:spPr>
          <a:xfrm>
            <a:off x="6001853" y="100467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asjonalisering</a:t>
            </a:r>
          </a:p>
        </p:txBody>
      </p:sp>
      <p:sp>
        <p:nvSpPr>
          <p:cNvPr id="382" name="TextBox 381">
            <a:extLst>
              <a:ext uri="{FF2B5EF4-FFF2-40B4-BE49-F238E27FC236}">
                <a16:creationId xmlns:a16="http://schemas.microsoft.com/office/drawing/2014/main" id="{A95503AB-E690-4961-96A3-B87E56835226}"/>
              </a:ext>
            </a:extLst>
          </p:cNvPr>
          <p:cNvSpPr txBox="1"/>
          <p:nvPr/>
        </p:nvSpPr>
        <p:spPr>
          <a:xfrm>
            <a:off x="6001854" y="1342814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infrastruktur</a:t>
            </a:r>
          </a:p>
        </p:txBody>
      </p:sp>
      <p:sp>
        <p:nvSpPr>
          <p:cNvPr id="383" name="TextBox 382">
            <a:extLst>
              <a:ext uri="{FF2B5EF4-FFF2-40B4-BE49-F238E27FC236}">
                <a16:creationId xmlns:a16="http://schemas.microsoft.com/office/drawing/2014/main" id="{E828BC33-5353-49BF-B065-DA16A64EA643}"/>
              </a:ext>
            </a:extLst>
          </p:cNvPr>
          <p:cNvSpPr txBox="1"/>
          <p:nvPr/>
        </p:nvSpPr>
        <p:spPr>
          <a:xfrm>
            <a:off x="6001854" y="1682056"/>
            <a:ext cx="28329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orskningsmiljøer </a:t>
            </a:r>
            <a:r>
              <a:rPr lang="nb-NO" sz="1100" err="1">
                <a:solidFill>
                  <a:schemeClr val="bg1"/>
                </a:solidFill>
              </a:rPr>
              <a:t>tidl</a:t>
            </a:r>
            <a:r>
              <a:rPr lang="nb-NO" sz="1100">
                <a:solidFill>
                  <a:schemeClr val="bg1"/>
                </a:solidFill>
              </a:rPr>
              <a:t> </a:t>
            </a:r>
            <a:r>
              <a:rPr lang="nb-NO" sz="1100" err="1">
                <a:solidFill>
                  <a:schemeClr val="bg1"/>
                </a:solidFill>
              </a:rPr>
              <a:t>HiST</a:t>
            </a:r>
            <a:endParaRPr lang="nb-NO" sz="1100">
              <a:solidFill>
                <a:schemeClr val="bg1"/>
              </a:solidFill>
            </a:endParaRPr>
          </a:p>
        </p:txBody>
      </p:sp>
      <p:sp>
        <p:nvSpPr>
          <p:cNvPr id="384" name="TextBox 383">
            <a:extLst>
              <a:ext uri="{FF2B5EF4-FFF2-40B4-BE49-F238E27FC236}">
                <a16:creationId xmlns:a16="http://schemas.microsoft.com/office/drawing/2014/main" id="{D538E79F-C45A-4708-9566-077B43CC3B29}"/>
              </a:ext>
            </a:extLst>
          </p:cNvPr>
          <p:cNvSpPr txBox="1"/>
          <p:nvPr/>
        </p:nvSpPr>
        <p:spPr>
          <a:xfrm>
            <a:off x="6001854" y="1998689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NTNU Toppforskning</a:t>
            </a:r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653D844D-1042-483F-A464-D1BCB3A2EEDC}"/>
              </a:ext>
            </a:extLst>
          </p:cNvPr>
          <p:cNvSpPr txBox="1"/>
          <p:nvPr/>
        </p:nvSpPr>
        <p:spPr>
          <a:xfrm>
            <a:off x="6001853" y="2331328"/>
            <a:ext cx="2832951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Muliggjørende teknologier</a:t>
            </a:r>
          </a:p>
        </p:txBody>
      </p:sp>
      <p:sp>
        <p:nvSpPr>
          <p:cNvPr id="386" name="TextBox 385">
            <a:extLst>
              <a:ext uri="{FF2B5EF4-FFF2-40B4-BE49-F238E27FC236}">
                <a16:creationId xmlns:a16="http://schemas.microsoft.com/office/drawing/2014/main" id="{B345B32F-38F4-44D6-B50E-7AAF60E1BCBB}"/>
              </a:ext>
            </a:extLst>
          </p:cNvPr>
          <p:cNvSpPr txBox="1"/>
          <p:nvPr/>
        </p:nvSpPr>
        <p:spPr>
          <a:xfrm>
            <a:off x="6001854" y="2637655"/>
            <a:ext cx="2832951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Tematiske satsningsområder</a:t>
            </a:r>
          </a:p>
        </p:txBody>
      </p:sp>
      <p:sp>
        <p:nvSpPr>
          <p:cNvPr id="387" name="TextBox 386">
            <a:extLst>
              <a:ext uri="{FF2B5EF4-FFF2-40B4-BE49-F238E27FC236}">
                <a16:creationId xmlns:a16="http://schemas.microsoft.com/office/drawing/2014/main" id="{B958144D-1AFB-4AF6-BDF5-FDE22BE081C3}"/>
              </a:ext>
            </a:extLst>
          </p:cNvPr>
          <p:cNvSpPr txBox="1"/>
          <p:nvPr/>
        </p:nvSpPr>
        <p:spPr>
          <a:xfrm>
            <a:off x="6001853" y="2963247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NTNU Toppundervisning</a:t>
            </a:r>
          </a:p>
        </p:txBody>
      </p:sp>
      <p:sp>
        <p:nvSpPr>
          <p:cNvPr id="388" name="TextBox 387">
            <a:extLst>
              <a:ext uri="{FF2B5EF4-FFF2-40B4-BE49-F238E27FC236}">
                <a16:creationId xmlns:a16="http://schemas.microsoft.com/office/drawing/2014/main" id="{B6D8BD3D-4767-4D67-8322-E423B6F0F675}"/>
              </a:ext>
            </a:extLst>
          </p:cNvPr>
          <p:cNvSpPr txBox="1"/>
          <p:nvPr/>
        </p:nvSpPr>
        <p:spPr>
          <a:xfrm>
            <a:off x="6001853" y="3276113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Læringsareal</a:t>
            </a: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6CA56D6F-E4D1-471D-944C-F0E2F69003B9}"/>
              </a:ext>
            </a:extLst>
          </p:cNvPr>
          <p:cNvSpPr txBox="1"/>
          <p:nvPr/>
        </p:nvSpPr>
        <p:spPr>
          <a:xfrm>
            <a:off x="6001853" y="3592746"/>
            <a:ext cx="2832952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tdanningsstrategiske tiltak</a:t>
            </a: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050211B8-131A-4E62-A634-75B5E86A32D7}"/>
              </a:ext>
            </a:extLst>
          </p:cNvPr>
          <p:cNvSpPr txBox="1"/>
          <p:nvPr/>
        </p:nvSpPr>
        <p:spPr>
          <a:xfrm>
            <a:off x="6001853" y="3925385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frastruktur utdanning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6001853" y="4301758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KI - Innovasjonsledere</a:t>
            </a: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F53825E8-5907-418E-96AB-DE0534A90D38}"/>
              </a:ext>
            </a:extLst>
          </p:cNvPr>
          <p:cNvSpPr txBox="1"/>
          <p:nvPr/>
        </p:nvSpPr>
        <p:spPr>
          <a:xfrm>
            <a:off x="6001853" y="4951197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e såkornmidler</a:t>
            </a:r>
          </a:p>
        </p:txBody>
      </p:sp>
      <p:sp>
        <p:nvSpPr>
          <p:cNvPr id="393" name="TextBox 392">
            <a:extLst>
              <a:ext uri="{FF2B5EF4-FFF2-40B4-BE49-F238E27FC236}">
                <a16:creationId xmlns:a16="http://schemas.microsoft.com/office/drawing/2014/main" id="{8A50A012-948C-4AD3-A90B-13ECEFEF3D01}"/>
              </a:ext>
            </a:extLst>
          </p:cNvPr>
          <p:cNvSpPr txBox="1"/>
          <p:nvPr/>
        </p:nvSpPr>
        <p:spPr>
          <a:xfrm>
            <a:off x="6001853" y="5267807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Universitetskommuner</a:t>
            </a: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id="{D326C445-FED9-404D-A793-52BB9BE0F11A}"/>
              </a:ext>
            </a:extLst>
          </p:cNvPr>
          <p:cNvSpPr txBox="1"/>
          <p:nvPr/>
        </p:nvSpPr>
        <p:spPr>
          <a:xfrm>
            <a:off x="6001853" y="558683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Digitalisering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B60A3700-4CCA-4E26-80B6-20D252A05C2E}"/>
              </a:ext>
            </a:extLst>
          </p:cNvPr>
          <p:cNvSpPr txBox="1"/>
          <p:nvPr/>
        </p:nvSpPr>
        <p:spPr>
          <a:xfrm>
            <a:off x="5999655" y="590198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ternasjonalisering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6001853" y="4621784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P Forvaltning</a:t>
            </a:r>
          </a:p>
        </p:txBody>
      </p:sp>
      <p:cxnSp>
        <p:nvCxnSpPr>
          <p:cNvPr id="403" name="Connector: Elbow 402">
            <a:extLst>
              <a:ext uri="{FF2B5EF4-FFF2-40B4-BE49-F238E27FC236}">
                <a16:creationId xmlns:a16="http://schemas.microsoft.com/office/drawing/2014/main" id="{FA9FFD72-F399-40B5-A629-4E357137A9E0}"/>
              </a:ext>
            </a:extLst>
          </p:cNvPr>
          <p:cNvCxnSpPr>
            <a:cxnSpLocks/>
            <a:stCxn id="12" idx="3"/>
            <a:endCxn id="28" idx="1"/>
          </p:cNvCxnSpPr>
          <p:nvPr/>
        </p:nvCxnSpPr>
        <p:spPr>
          <a:xfrm>
            <a:off x="1539912" y="3571166"/>
            <a:ext cx="721802" cy="215990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6" name="Connector: Elbow 405">
            <a:extLst>
              <a:ext uri="{FF2B5EF4-FFF2-40B4-BE49-F238E27FC236}">
                <a16:creationId xmlns:a16="http://schemas.microsoft.com/office/drawing/2014/main" id="{02B347B0-3AC2-4D12-A5C3-96854F4B35E3}"/>
              </a:ext>
            </a:extLst>
          </p:cNvPr>
          <p:cNvCxnSpPr>
            <a:cxnSpLocks/>
            <a:stCxn id="12" idx="3"/>
            <a:endCxn id="64" idx="1"/>
          </p:cNvCxnSpPr>
          <p:nvPr/>
        </p:nvCxnSpPr>
        <p:spPr>
          <a:xfrm flipV="1">
            <a:off x="1539912" y="3563676"/>
            <a:ext cx="702108" cy="7490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9" name="Connector: Elbow 408">
            <a:extLst>
              <a:ext uri="{FF2B5EF4-FFF2-40B4-BE49-F238E27FC236}">
                <a16:creationId xmlns:a16="http://schemas.microsoft.com/office/drawing/2014/main" id="{55FB41D1-5979-4BFC-BC9A-852E14245AEE}"/>
              </a:ext>
            </a:extLst>
          </p:cNvPr>
          <p:cNvCxnSpPr>
            <a:cxnSpLocks/>
            <a:stCxn id="12" idx="3"/>
            <a:endCxn id="54" idx="1"/>
          </p:cNvCxnSpPr>
          <p:nvPr/>
        </p:nvCxnSpPr>
        <p:spPr>
          <a:xfrm flipV="1">
            <a:off x="1539912" y="2028080"/>
            <a:ext cx="702108" cy="154308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160878"/>
            <a:ext cx="2063774" cy="462293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9" name="Connector: Elbow 418">
            <a:extLst>
              <a:ext uri="{FF2B5EF4-FFF2-40B4-BE49-F238E27FC236}">
                <a16:creationId xmlns:a16="http://schemas.microsoft.com/office/drawing/2014/main" id="{F619F429-F861-4497-A3E1-880F95784A9A}"/>
              </a:ext>
            </a:extLst>
          </p:cNvPr>
          <p:cNvCxnSpPr>
            <a:cxnSpLocks/>
          </p:cNvCxnSpPr>
          <p:nvPr/>
        </p:nvCxnSpPr>
        <p:spPr>
          <a:xfrm>
            <a:off x="3930103" y="643760"/>
            <a:ext cx="2063775" cy="193582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 flipV="1">
            <a:off x="3938078" y="500120"/>
            <a:ext cx="2063775" cy="123051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5" name="Connector: Elbow 424">
            <a:extLst>
              <a:ext uri="{FF2B5EF4-FFF2-40B4-BE49-F238E27FC236}">
                <a16:creationId xmlns:a16="http://schemas.microsoft.com/office/drawing/2014/main" id="{C7A3AED2-C561-40AB-9EE5-DDD0C0C59060}"/>
              </a:ext>
            </a:extLst>
          </p:cNvPr>
          <p:cNvCxnSpPr>
            <a:cxnSpLocks/>
          </p:cNvCxnSpPr>
          <p:nvPr/>
        </p:nvCxnSpPr>
        <p:spPr>
          <a:xfrm>
            <a:off x="3923245" y="623170"/>
            <a:ext cx="2063775" cy="526221"/>
          </a:xfrm>
          <a:prstGeom prst="bentConnector3">
            <a:avLst>
              <a:gd name="adj1" fmla="val 8369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8" name="Connector: Elbow 427">
            <a:extLst>
              <a:ext uri="{FF2B5EF4-FFF2-40B4-BE49-F238E27FC236}">
                <a16:creationId xmlns:a16="http://schemas.microsoft.com/office/drawing/2014/main" id="{87D88754-9570-436F-B6A2-F6624DC76D3A}"/>
              </a:ext>
            </a:extLst>
          </p:cNvPr>
          <p:cNvCxnSpPr>
            <a:cxnSpLocks/>
            <a:stCxn id="54" idx="3"/>
            <a:endCxn id="382" idx="1"/>
          </p:cNvCxnSpPr>
          <p:nvPr/>
        </p:nvCxnSpPr>
        <p:spPr>
          <a:xfrm flipV="1">
            <a:off x="3945996" y="1487535"/>
            <a:ext cx="2055858" cy="540545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4" name="Connector: Elbow 433">
            <a:extLst>
              <a:ext uri="{FF2B5EF4-FFF2-40B4-BE49-F238E27FC236}">
                <a16:creationId xmlns:a16="http://schemas.microsoft.com/office/drawing/2014/main" id="{545271CD-7047-4590-AEBD-DE58CAF5936D}"/>
              </a:ext>
            </a:extLst>
          </p:cNvPr>
          <p:cNvCxnSpPr>
            <a:cxnSpLocks/>
            <a:stCxn id="54" idx="3"/>
            <a:endCxn id="383" idx="1"/>
          </p:cNvCxnSpPr>
          <p:nvPr/>
        </p:nvCxnSpPr>
        <p:spPr>
          <a:xfrm flipV="1">
            <a:off x="3945996" y="1826777"/>
            <a:ext cx="2055858" cy="201303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Connector: Elbow 436">
            <a:extLst>
              <a:ext uri="{FF2B5EF4-FFF2-40B4-BE49-F238E27FC236}">
                <a16:creationId xmlns:a16="http://schemas.microsoft.com/office/drawing/2014/main" id="{82F418E0-661B-4DA0-90C4-78058A7B2B5A}"/>
              </a:ext>
            </a:extLst>
          </p:cNvPr>
          <p:cNvCxnSpPr>
            <a:cxnSpLocks/>
            <a:stCxn id="54" idx="3"/>
            <a:endCxn id="384" idx="1"/>
          </p:cNvCxnSpPr>
          <p:nvPr/>
        </p:nvCxnSpPr>
        <p:spPr>
          <a:xfrm>
            <a:off x="3945996" y="2028080"/>
            <a:ext cx="2055858" cy="115330"/>
          </a:xfrm>
          <a:prstGeom prst="bentConnector3">
            <a:avLst>
              <a:gd name="adj1" fmla="val 8474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0" name="Connector: Elbow 439">
            <a:extLst>
              <a:ext uri="{FF2B5EF4-FFF2-40B4-BE49-F238E27FC236}">
                <a16:creationId xmlns:a16="http://schemas.microsoft.com/office/drawing/2014/main" id="{60E148A4-A5EB-45D6-9828-2CF8D443C843}"/>
              </a:ext>
            </a:extLst>
          </p:cNvPr>
          <p:cNvCxnSpPr>
            <a:cxnSpLocks/>
            <a:stCxn id="54" idx="3"/>
            <a:endCxn id="385" idx="1"/>
          </p:cNvCxnSpPr>
          <p:nvPr/>
        </p:nvCxnSpPr>
        <p:spPr>
          <a:xfrm>
            <a:off x="3945996" y="2028080"/>
            <a:ext cx="2055857" cy="447969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Connector: Elbow 442">
            <a:extLst>
              <a:ext uri="{FF2B5EF4-FFF2-40B4-BE49-F238E27FC236}">
                <a16:creationId xmlns:a16="http://schemas.microsoft.com/office/drawing/2014/main" id="{389D2DCA-B306-4BBE-A955-30CB133F49CA}"/>
              </a:ext>
            </a:extLst>
          </p:cNvPr>
          <p:cNvCxnSpPr>
            <a:cxnSpLocks/>
            <a:stCxn id="54" idx="3"/>
            <a:endCxn id="386" idx="1"/>
          </p:cNvCxnSpPr>
          <p:nvPr/>
        </p:nvCxnSpPr>
        <p:spPr>
          <a:xfrm>
            <a:off x="3945996" y="2028080"/>
            <a:ext cx="2055858" cy="754296"/>
          </a:xfrm>
          <a:prstGeom prst="bentConnector3">
            <a:avLst>
              <a:gd name="adj1" fmla="val 8428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6" name="Connector: Elbow 445">
            <a:extLst>
              <a:ext uri="{FF2B5EF4-FFF2-40B4-BE49-F238E27FC236}">
                <a16:creationId xmlns:a16="http://schemas.microsoft.com/office/drawing/2014/main" id="{988C2B93-E770-4C78-89B6-0AE332E93800}"/>
              </a:ext>
            </a:extLst>
          </p:cNvPr>
          <p:cNvCxnSpPr>
            <a:cxnSpLocks/>
            <a:stCxn id="64" idx="3"/>
            <a:endCxn id="387" idx="1"/>
          </p:cNvCxnSpPr>
          <p:nvPr/>
        </p:nvCxnSpPr>
        <p:spPr>
          <a:xfrm flipV="1">
            <a:off x="3935881" y="3107968"/>
            <a:ext cx="2065972" cy="455708"/>
          </a:xfrm>
          <a:prstGeom prst="bentConnector3">
            <a:avLst>
              <a:gd name="adj1" fmla="val 84472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9" name="Connector: Elbow 448">
            <a:extLst>
              <a:ext uri="{FF2B5EF4-FFF2-40B4-BE49-F238E27FC236}">
                <a16:creationId xmlns:a16="http://schemas.microsoft.com/office/drawing/2014/main" id="{2B6B2FA1-1EE4-484E-9AB5-46B3D80FC200}"/>
              </a:ext>
            </a:extLst>
          </p:cNvPr>
          <p:cNvCxnSpPr>
            <a:cxnSpLocks/>
            <a:stCxn id="64" idx="3"/>
            <a:endCxn id="388" idx="1"/>
          </p:cNvCxnSpPr>
          <p:nvPr/>
        </p:nvCxnSpPr>
        <p:spPr>
          <a:xfrm flipV="1">
            <a:off x="3935881" y="3420834"/>
            <a:ext cx="2065972" cy="142842"/>
          </a:xfrm>
          <a:prstGeom prst="bentConnector3">
            <a:avLst>
              <a:gd name="adj1" fmla="val 8457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Connector: Elbow 451">
            <a:extLst>
              <a:ext uri="{FF2B5EF4-FFF2-40B4-BE49-F238E27FC236}">
                <a16:creationId xmlns:a16="http://schemas.microsoft.com/office/drawing/2014/main" id="{45275073-A781-44FA-A572-4FBABD6F3215}"/>
              </a:ext>
            </a:extLst>
          </p:cNvPr>
          <p:cNvCxnSpPr>
            <a:cxnSpLocks/>
            <a:stCxn id="64" idx="3"/>
            <a:endCxn id="389" idx="1"/>
          </p:cNvCxnSpPr>
          <p:nvPr/>
        </p:nvCxnSpPr>
        <p:spPr>
          <a:xfrm>
            <a:off x="3935881" y="3563676"/>
            <a:ext cx="2065972" cy="173791"/>
          </a:xfrm>
          <a:prstGeom prst="bentConnector3">
            <a:avLst>
              <a:gd name="adj1" fmla="val 84578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5" name="Connector: Elbow 454">
            <a:extLst>
              <a:ext uri="{FF2B5EF4-FFF2-40B4-BE49-F238E27FC236}">
                <a16:creationId xmlns:a16="http://schemas.microsoft.com/office/drawing/2014/main" id="{900A9E73-18F0-44DF-A1CE-393535531E71}"/>
              </a:ext>
            </a:extLst>
          </p:cNvPr>
          <p:cNvCxnSpPr>
            <a:cxnSpLocks/>
            <a:stCxn id="64" idx="3"/>
            <a:endCxn id="390" idx="1"/>
          </p:cNvCxnSpPr>
          <p:nvPr/>
        </p:nvCxnSpPr>
        <p:spPr>
          <a:xfrm>
            <a:off x="3935881" y="3563676"/>
            <a:ext cx="2065972" cy="506430"/>
          </a:xfrm>
          <a:prstGeom prst="bentConnector3">
            <a:avLst>
              <a:gd name="adj1" fmla="val 8411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63" idx="3"/>
            <a:endCxn id="391" idx="1"/>
          </p:cNvCxnSpPr>
          <p:nvPr/>
        </p:nvCxnSpPr>
        <p:spPr>
          <a:xfrm flipV="1">
            <a:off x="3908413" y="4446479"/>
            <a:ext cx="2093440" cy="322377"/>
          </a:xfrm>
          <a:prstGeom prst="bentConnector3">
            <a:avLst>
              <a:gd name="adj1" fmla="val 8191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63" idx="3"/>
            <a:endCxn id="400" idx="1"/>
          </p:cNvCxnSpPr>
          <p:nvPr/>
        </p:nvCxnSpPr>
        <p:spPr>
          <a:xfrm flipV="1">
            <a:off x="3908413" y="4766505"/>
            <a:ext cx="2093440" cy="2351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4" name="Connector: Elbow 463">
            <a:extLst>
              <a:ext uri="{FF2B5EF4-FFF2-40B4-BE49-F238E27FC236}">
                <a16:creationId xmlns:a16="http://schemas.microsoft.com/office/drawing/2014/main" id="{05E474E3-EE96-4A48-B143-656311D98D8C}"/>
              </a:ext>
            </a:extLst>
          </p:cNvPr>
          <p:cNvCxnSpPr>
            <a:cxnSpLocks/>
            <a:stCxn id="63" idx="3"/>
            <a:endCxn id="392" idx="1"/>
          </p:cNvCxnSpPr>
          <p:nvPr/>
        </p:nvCxnSpPr>
        <p:spPr>
          <a:xfrm>
            <a:off x="3908413" y="4768856"/>
            <a:ext cx="2093440" cy="327062"/>
          </a:xfrm>
          <a:prstGeom prst="bentConnector3">
            <a:avLst>
              <a:gd name="adj1" fmla="val 8191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7" name="Connector: Elbow 466">
            <a:extLst>
              <a:ext uri="{FF2B5EF4-FFF2-40B4-BE49-F238E27FC236}">
                <a16:creationId xmlns:a16="http://schemas.microsoft.com/office/drawing/2014/main" id="{488F964B-753B-4A38-A074-AFB9948496F6}"/>
              </a:ext>
            </a:extLst>
          </p:cNvPr>
          <p:cNvCxnSpPr>
            <a:cxnSpLocks/>
            <a:stCxn id="63" idx="3"/>
            <a:endCxn id="393" idx="1"/>
          </p:cNvCxnSpPr>
          <p:nvPr/>
        </p:nvCxnSpPr>
        <p:spPr>
          <a:xfrm>
            <a:off x="3908413" y="4768856"/>
            <a:ext cx="2093440" cy="643672"/>
          </a:xfrm>
          <a:prstGeom prst="bentConnector3">
            <a:avLst>
              <a:gd name="adj1" fmla="val 82339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0" name="Connector: Elbow 469">
            <a:extLst>
              <a:ext uri="{FF2B5EF4-FFF2-40B4-BE49-F238E27FC236}">
                <a16:creationId xmlns:a16="http://schemas.microsoft.com/office/drawing/2014/main" id="{1C3C5587-0493-472E-94ED-905C54126A87}"/>
              </a:ext>
            </a:extLst>
          </p:cNvPr>
          <p:cNvCxnSpPr>
            <a:cxnSpLocks/>
            <a:stCxn id="28" idx="3"/>
            <a:endCxn id="394" idx="1"/>
          </p:cNvCxnSpPr>
          <p:nvPr/>
        </p:nvCxnSpPr>
        <p:spPr>
          <a:xfrm>
            <a:off x="3955574" y="5731067"/>
            <a:ext cx="2046279" cy="492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Connector: Elbow 472">
            <a:extLst>
              <a:ext uri="{FF2B5EF4-FFF2-40B4-BE49-F238E27FC236}">
                <a16:creationId xmlns:a16="http://schemas.microsoft.com/office/drawing/2014/main" id="{B632FAD0-9CB1-49B7-842C-004680C1E112}"/>
              </a:ext>
            </a:extLst>
          </p:cNvPr>
          <p:cNvCxnSpPr>
            <a:cxnSpLocks/>
            <a:stCxn id="28" idx="3"/>
            <a:endCxn id="395" idx="1"/>
          </p:cNvCxnSpPr>
          <p:nvPr/>
        </p:nvCxnSpPr>
        <p:spPr>
          <a:xfrm>
            <a:off x="3955574" y="5731067"/>
            <a:ext cx="2044081" cy="315638"/>
          </a:xfrm>
          <a:prstGeom prst="bentConnector3">
            <a:avLst>
              <a:gd name="adj1" fmla="val 8226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9" name="TextBox 498">
            <a:extLst>
              <a:ext uri="{FF2B5EF4-FFF2-40B4-BE49-F238E27FC236}">
                <a16:creationId xmlns:a16="http://schemas.microsoft.com/office/drawing/2014/main" id="{38BA52DF-34ED-400C-9B2F-927B78EF1A8B}"/>
              </a:ext>
            </a:extLst>
          </p:cNvPr>
          <p:cNvSpPr txBox="1"/>
          <p:nvPr/>
        </p:nvSpPr>
        <p:spPr>
          <a:xfrm>
            <a:off x="5999655" y="6218231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Frie rekrutteringsstillinger tildelt år X</a:t>
            </a:r>
          </a:p>
        </p:txBody>
      </p:sp>
      <p:sp>
        <p:nvSpPr>
          <p:cNvPr id="500" name="TextBox 499">
            <a:extLst>
              <a:ext uri="{FF2B5EF4-FFF2-40B4-BE49-F238E27FC236}">
                <a16:creationId xmlns:a16="http://schemas.microsoft.com/office/drawing/2014/main" id="{E76D3907-85CC-4AFE-8C4E-733C44D13B85}"/>
              </a:ext>
            </a:extLst>
          </p:cNvPr>
          <p:cNvSpPr txBox="1"/>
          <p:nvPr/>
        </p:nvSpPr>
        <p:spPr>
          <a:xfrm>
            <a:off x="5999655" y="6538055"/>
            <a:ext cx="2837348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Øremerket rekrutteringsstillinger tildelt år X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52135" y="6129576"/>
            <a:ext cx="1693860" cy="715089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Rekrutterings-stillinger</a:t>
            </a: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39912" y="3571166"/>
            <a:ext cx="712223" cy="291595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9" name="Connector: Elbow 568">
            <a:extLst>
              <a:ext uri="{FF2B5EF4-FFF2-40B4-BE49-F238E27FC236}">
                <a16:creationId xmlns:a16="http://schemas.microsoft.com/office/drawing/2014/main" id="{E42474C1-E6F5-4E70-A206-51FD68CE2A35}"/>
              </a:ext>
            </a:extLst>
          </p:cNvPr>
          <p:cNvCxnSpPr>
            <a:cxnSpLocks/>
          </p:cNvCxnSpPr>
          <p:nvPr/>
        </p:nvCxnSpPr>
        <p:spPr>
          <a:xfrm>
            <a:off x="3937203" y="6487121"/>
            <a:ext cx="2053660" cy="195655"/>
          </a:xfrm>
          <a:prstGeom prst="bentConnector3">
            <a:avLst>
              <a:gd name="adj1" fmla="val 83395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Connector: Elbow 571">
            <a:extLst>
              <a:ext uri="{FF2B5EF4-FFF2-40B4-BE49-F238E27FC236}">
                <a16:creationId xmlns:a16="http://schemas.microsoft.com/office/drawing/2014/main" id="{A4E72127-0C75-4AA7-A730-A64C2F96CC31}"/>
              </a:ext>
            </a:extLst>
          </p:cNvPr>
          <p:cNvCxnSpPr>
            <a:cxnSpLocks/>
            <a:stCxn id="562" idx="3"/>
            <a:endCxn id="499" idx="1"/>
          </p:cNvCxnSpPr>
          <p:nvPr/>
        </p:nvCxnSpPr>
        <p:spPr>
          <a:xfrm flipV="1">
            <a:off x="3945995" y="6362952"/>
            <a:ext cx="2053660" cy="124169"/>
          </a:xfrm>
          <a:prstGeom prst="bentConnector3">
            <a:avLst>
              <a:gd name="adj1" fmla="val 82966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5" name="TextBox 574">
            <a:extLst>
              <a:ext uri="{FF2B5EF4-FFF2-40B4-BE49-F238E27FC236}">
                <a16:creationId xmlns:a16="http://schemas.microsoft.com/office/drawing/2014/main" id="{FDE1D5EE-5D41-4ADB-A10B-CD247C409E4A}"/>
              </a:ext>
            </a:extLst>
          </p:cNvPr>
          <p:cNvSpPr txBox="1"/>
          <p:nvPr/>
        </p:nvSpPr>
        <p:spPr>
          <a:xfrm>
            <a:off x="183285" y="4855928"/>
            <a:ext cx="1209076" cy="646331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200" b="1" i="1"/>
              <a:t>Aktivitet og aktivitetstype tildeles av FA</a:t>
            </a:r>
          </a:p>
        </p:txBody>
      </p:sp>
      <p:sp>
        <p:nvSpPr>
          <p:cNvPr id="616" name="TextBox 615">
            <a:extLst>
              <a:ext uri="{FF2B5EF4-FFF2-40B4-BE49-F238E27FC236}">
                <a16:creationId xmlns:a16="http://schemas.microsoft.com/office/drawing/2014/main" id="{A591B248-1496-4884-BE12-6824682F9D19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10F9F601-C3CA-4EC2-872C-32B3804D4219}"/>
              </a:ext>
            </a:extLst>
          </p:cNvPr>
          <p:cNvSpPr txBox="1"/>
          <p:nvPr/>
        </p:nvSpPr>
        <p:spPr>
          <a:xfrm>
            <a:off x="2252135" y="-32173"/>
            <a:ext cx="17034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618" name="TextBox 617">
            <a:extLst>
              <a:ext uri="{FF2B5EF4-FFF2-40B4-BE49-F238E27FC236}">
                <a16:creationId xmlns:a16="http://schemas.microsoft.com/office/drawing/2014/main" id="{925E4319-07BA-4F47-890D-890BF79EAC5A}"/>
              </a:ext>
            </a:extLst>
          </p:cNvPr>
          <p:cNvSpPr txBox="1"/>
          <p:nvPr/>
        </p:nvSpPr>
        <p:spPr>
          <a:xfrm>
            <a:off x="4554708" y="231525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619" name="TextBox 618">
            <a:extLst>
              <a:ext uri="{FF2B5EF4-FFF2-40B4-BE49-F238E27FC236}">
                <a16:creationId xmlns:a16="http://schemas.microsoft.com/office/drawing/2014/main" id="{BB07C09F-E629-43D4-A4EF-64822389D76D}"/>
              </a:ext>
            </a:extLst>
          </p:cNvPr>
          <p:cNvSpPr txBox="1"/>
          <p:nvPr/>
        </p:nvSpPr>
        <p:spPr>
          <a:xfrm>
            <a:off x="10020883" y="46859"/>
            <a:ext cx="1452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BF29ADEA-8286-4D1D-8446-058A6E2253C4}"/>
              </a:ext>
            </a:extLst>
          </p:cNvPr>
          <p:cNvSpPr txBox="1"/>
          <p:nvPr/>
        </p:nvSpPr>
        <p:spPr>
          <a:xfrm>
            <a:off x="9329752" y="1342132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Tungeregnemaski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EB71497-7F35-479A-91FF-65873F04D466}"/>
              </a:ext>
            </a:extLst>
          </p:cNvPr>
          <p:cNvSpPr txBox="1"/>
          <p:nvPr/>
        </p:nvSpPr>
        <p:spPr>
          <a:xfrm>
            <a:off x="9329752" y="3127778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Innovative læringsareal</a:t>
            </a:r>
          </a:p>
        </p:txBody>
      </p: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64F97906-F14A-4BBF-84CC-466F2A09EED2}"/>
              </a:ext>
            </a:extLst>
          </p:cNvPr>
          <p:cNvCxnSpPr>
            <a:cxnSpLocks/>
            <a:stCxn id="382" idx="3"/>
            <a:endCxn id="66" idx="1"/>
          </p:cNvCxnSpPr>
          <p:nvPr/>
        </p:nvCxnSpPr>
        <p:spPr>
          <a:xfrm flipV="1">
            <a:off x="8837004" y="1486853"/>
            <a:ext cx="492748" cy="682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id="{7C381AF7-B0F2-4DB0-92A7-D8B74B8B9787}"/>
              </a:ext>
            </a:extLst>
          </p:cNvPr>
          <p:cNvSpPr txBox="1"/>
          <p:nvPr/>
        </p:nvSpPr>
        <p:spPr>
          <a:xfrm>
            <a:off x="9312180" y="3486036"/>
            <a:ext cx="2835150" cy="289441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Simulering</a:t>
            </a:r>
          </a:p>
        </p:txBody>
      </p: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4BA76305-BCA4-4682-A9A8-08559D4121E0}"/>
              </a:ext>
            </a:extLst>
          </p:cNvPr>
          <p:cNvCxnSpPr>
            <a:cxnSpLocks/>
            <a:stCxn id="388" idx="3"/>
            <a:endCxn id="67" idx="1"/>
          </p:cNvCxnSpPr>
          <p:nvPr/>
        </p:nvCxnSpPr>
        <p:spPr>
          <a:xfrm flipV="1">
            <a:off x="8837003" y="3272499"/>
            <a:ext cx="492749" cy="148335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378D4B1A-304E-4E55-BD9F-2AFDA5FAF9FC}"/>
              </a:ext>
            </a:extLst>
          </p:cNvPr>
          <p:cNvCxnSpPr>
            <a:cxnSpLocks/>
            <a:endCxn id="71" idx="1"/>
          </p:cNvCxnSpPr>
          <p:nvPr/>
        </p:nvCxnSpPr>
        <p:spPr>
          <a:xfrm>
            <a:off x="8875639" y="3417219"/>
            <a:ext cx="436541" cy="213538"/>
          </a:xfrm>
          <a:prstGeom prst="bentConnector3">
            <a:avLst>
              <a:gd name="adj1" fmla="val 47987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2334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28" grpId="0" animBg="1"/>
      <p:bldP spid="54" grpId="0" animBg="1"/>
      <p:bldP spid="63" grpId="0" animBg="1"/>
      <p:bldP spid="64" grpId="0" animBg="1"/>
      <p:bldP spid="378" grpId="0" animBg="1"/>
      <p:bldP spid="379" grpId="0" animBg="1"/>
      <p:bldP spid="380" grpId="0" animBg="1"/>
      <p:bldP spid="381" grpId="0" animBg="1"/>
      <p:bldP spid="382" grpId="0" animBg="1"/>
      <p:bldP spid="383" grpId="0" animBg="1"/>
      <p:bldP spid="384" grpId="0" animBg="1"/>
      <p:bldP spid="385" grpId="0" animBg="1"/>
      <p:bldP spid="386" grpId="0" animBg="1"/>
      <p:bldP spid="387" grpId="0" animBg="1"/>
      <p:bldP spid="388" grpId="0" animBg="1"/>
      <p:bldP spid="389" grpId="0" animBg="1"/>
      <p:bldP spid="390" grpId="0" animBg="1"/>
      <p:bldP spid="391" grpId="0" animBg="1"/>
      <p:bldP spid="392" grpId="0" animBg="1"/>
      <p:bldP spid="393" grpId="0" animBg="1"/>
      <p:bldP spid="394" grpId="0" animBg="1"/>
      <p:bldP spid="395" grpId="0" animBg="1"/>
      <p:bldP spid="400" grpId="0" animBg="1"/>
      <p:bldP spid="499" grpId="0" animBg="1"/>
      <p:bldP spid="500" grpId="0" animBg="1"/>
      <p:bldP spid="562" grpId="0" animBg="1"/>
      <p:bldP spid="66" grpId="0" animBg="1"/>
      <p:bldP spid="67" grpId="0" animBg="1"/>
      <p:bldP spid="71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1B122D20-0DDC-4AD3-A86B-F44A404094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427633" y="-5441112"/>
            <a:ext cx="1325563" cy="1218083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B011448-84EC-4AE9-8CAA-87B296894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6977" y="-11755"/>
            <a:ext cx="10515600" cy="1325563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RSO: Hvordan kan vi bruke dette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FE9B9-FD9A-4FA7-808C-3A53531F28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977" y="2874129"/>
            <a:ext cx="4888787" cy="29311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A097DC7-EB13-4A29-A1A2-FE29341CF6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6369" y="2795753"/>
            <a:ext cx="4956277" cy="29311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E24F6F4-B6DC-4419-9F56-94E501FB8B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3785" y="2159425"/>
            <a:ext cx="2804614" cy="47791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619D0A-B6DC-473E-A8A0-BA41706C08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8398" y="2159424"/>
            <a:ext cx="3149521" cy="4779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A75B180-81B6-40D7-B09C-FD56F8888296}"/>
              </a:ext>
            </a:extLst>
          </p:cNvPr>
          <p:cNvSpPr txBox="1"/>
          <p:nvPr/>
        </p:nvSpPr>
        <p:spPr>
          <a:xfrm>
            <a:off x="752690" y="2255823"/>
            <a:ext cx="185970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Forskn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FA50C7C-5A33-43C9-8D0B-37A57C21258F}"/>
              </a:ext>
            </a:extLst>
          </p:cNvPr>
          <p:cNvSpPr txBox="1"/>
          <p:nvPr/>
        </p:nvSpPr>
        <p:spPr>
          <a:xfrm>
            <a:off x="3658373" y="2277892"/>
            <a:ext cx="229525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200">
                <a:latin typeface="Calibri" panose="020F0502020204030204" pitchFamily="34" charset="0"/>
              </a:rPr>
              <a:t>Forskningsinfrastruktur</a:t>
            </a:r>
            <a:endParaRPr lang="nb-NO" sz="1200">
              <a:latin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BA8D0A-5905-492A-BBBA-3447C09912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0823" y="2159425"/>
            <a:ext cx="2804614" cy="4779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03D6A5B-D884-4708-84A4-207587B0CB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55436" y="2159424"/>
            <a:ext cx="2804614" cy="4779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1BE19D-1E4E-49DD-A957-4AD36DE9CD74}"/>
              </a:ext>
            </a:extLst>
          </p:cNvPr>
          <p:cNvSpPr txBox="1"/>
          <p:nvPr/>
        </p:nvSpPr>
        <p:spPr>
          <a:xfrm>
            <a:off x="6739728" y="2247114"/>
            <a:ext cx="204686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Strategiske aktivitet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B0FFA2-3C7B-4EB3-914A-8AA4E6DB7128}"/>
              </a:ext>
            </a:extLst>
          </p:cNvPr>
          <p:cNvSpPr txBox="1"/>
          <p:nvPr/>
        </p:nvSpPr>
        <p:spPr>
          <a:xfrm>
            <a:off x="9511438" y="2259882"/>
            <a:ext cx="241677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1400">
                <a:latin typeface="Calibri" panose="020F0502020204030204" pitchFamily="34" charset="0"/>
              </a:rPr>
              <a:t>Utdanningsstrategiske tiltak </a:t>
            </a:r>
            <a:endParaRPr lang="nb-NO" sz="1400"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506A42-DE38-4CF1-966E-54353EFC5AEB}"/>
              </a:ext>
            </a:extLst>
          </p:cNvPr>
          <p:cNvSpPr/>
          <p:nvPr/>
        </p:nvSpPr>
        <p:spPr>
          <a:xfrm>
            <a:off x="263785" y="201168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D5BD50-E909-4989-9E6D-F447191ADD31}"/>
              </a:ext>
            </a:extLst>
          </p:cNvPr>
          <p:cNvSpPr/>
          <p:nvPr/>
        </p:nvSpPr>
        <p:spPr>
          <a:xfrm>
            <a:off x="6271272" y="1993960"/>
            <a:ext cx="5954134" cy="4310743"/>
          </a:xfrm>
          <a:prstGeom prst="rect">
            <a:avLst/>
          </a:prstGeom>
          <a:noFill/>
          <a:ln w="28575">
            <a:solidFill>
              <a:srgbClr val="33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1004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: Rounded Corners 168">
            <a:extLst>
              <a:ext uri="{FF2B5EF4-FFF2-40B4-BE49-F238E27FC236}">
                <a16:creationId xmlns:a16="http://schemas.microsoft.com/office/drawing/2014/main" id="{A7BCA86E-7DF4-4028-92A4-11E593C6A574}"/>
              </a:ext>
            </a:extLst>
          </p:cNvPr>
          <p:cNvSpPr/>
          <p:nvPr/>
        </p:nvSpPr>
        <p:spPr>
          <a:xfrm>
            <a:off x="8835929" y="0"/>
            <a:ext cx="3346545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8" name="Rectangle: Rounded Corners 167">
            <a:extLst>
              <a:ext uri="{FF2B5EF4-FFF2-40B4-BE49-F238E27FC236}">
                <a16:creationId xmlns:a16="http://schemas.microsoft.com/office/drawing/2014/main" id="{5CA5A2A1-11FE-4B34-820A-589A60792D44}"/>
              </a:ext>
            </a:extLst>
          </p:cNvPr>
          <p:cNvSpPr/>
          <p:nvPr/>
        </p:nvSpPr>
        <p:spPr>
          <a:xfrm>
            <a:off x="4546380" y="0"/>
            <a:ext cx="4216620" cy="671512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7" name="Rectangle: Rounded Corners 166">
            <a:extLst>
              <a:ext uri="{FF2B5EF4-FFF2-40B4-BE49-F238E27FC236}">
                <a16:creationId xmlns:a16="http://schemas.microsoft.com/office/drawing/2014/main" id="{A7AC2C23-C3F2-458D-B933-0D008B031162}"/>
              </a:ext>
            </a:extLst>
          </p:cNvPr>
          <p:cNvSpPr/>
          <p:nvPr/>
        </p:nvSpPr>
        <p:spPr>
          <a:xfrm>
            <a:off x="1704180" y="1"/>
            <a:ext cx="2769270" cy="6715124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3" name="Rectangle: Rounded Corners 502">
            <a:extLst>
              <a:ext uri="{FF2B5EF4-FFF2-40B4-BE49-F238E27FC236}">
                <a16:creationId xmlns:a16="http://schemas.microsoft.com/office/drawing/2014/main" id="{CEEB8AB5-A668-4F96-8EE1-C567695DF2E4}"/>
              </a:ext>
            </a:extLst>
          </p:cNvPr>
          <p:cNvSpPr/>
          <p:nvPr/>
        </p:nvSpPr>
        <p:spPr>
          <a:xfrm>
            <a:off x="48347" y="15530"/>
            <a:ext cx="1562100" cy="6699595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Ra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EEA449-EF90-41DB-AAA1-71B83503D0AA}"/>
              </a:ext>
            </a:extLst>
          </p:cNvPr>
          <p:cNvSpPr txBox="1"/>
          <p:nvPr/>
        </p:nvSpPr>
        <p:spPr>
          <a:xfrm>
            <a:off x="148154" y="3009740"/>
            <a:ext cx="1365324" cy="408623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EVU-BF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BA5DFD-6801-4C7B-B1CA-79F7FC4B44A0}"/>
              </a:ext>
            </a:extLst>
          </p:cNvPr>
          <p:cNvSpPr txBox="1"/>
          <p:nvPr/>
        </p:nvSpPr>
        <p:spPr>
          <a:xfrm>
            <a:off x="2242020" y="1637071"/>
            <a:ext cx="1696058" cy="715089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Økonomisk aktivitet</a:t>
            </a:r>
          </a:p>
        </p:txBody>
      </p:sp>
      <p:cxnSp>
        <p:nvCxnSpPr>
          <p:cNvPr id="35" name="Connector: Elbow 34">
            <a:extLst>
              <a:ext uri="{FF2B5EF4-FFF2-40B4-BE49-F238E27FC236}">
                <a16:creationId xmlns:a16="http://schemas.microsoft.com/office/drawing/2014/main" id="{5D1E7FBA-2916-4634-AE71-F7E1EAEBF43F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1513478" y="1994616"/>
            <a:ext cx="728542" cy="1219436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TextBox 377">
            <a:extLst>
              <a:ext uri="{FF2B5EF4-FFF2-40B4-BE49-F238E27FC236}">
                <a16:creationId xmlns:a16="http://schemas.microsoft.com/office/drawing/2014/main" id="{497BA549-D5A3-4248-A6B0-838537E6CAC0}"/>
              </a:ext>
            </a:extLst>
          </p:cNvPr>
          <p:cNvSpPr txBox="1"/>
          <p:nvPr/>
        </p:nvSpPr>
        <p:spPr>
          <a:xfrm>
            <a:off x="5493816" y="1592762"/>
            <a:ext cx="271873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tterutdanning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4399FBFC-06CC-4C78-88F6-6E41348EF25B}"/>
              </a:ext>
            </a:extLst>
          </p:cNvPr>
          <p:cNvSpPr txBox="1"/>
          <p:nvPr/>
        </p:nvSpPr>
        <p:spPr>
          <a:xfrm>
            <a:off x="5491706" y="2067360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</a:t>
            </a: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65ECA1EF-9B39-4D1D-8305-4BBF8F08E673}"/>
              </a:ext>
            </a:extLst>
          </p:cNvPr>
          <p:cNvSpPr txBox="1"/>
          <p:nvPr/>
        </p:nvSpPr>
        <p:spPr>
          <a:xfrm>
            <a:off x="5302362" y="5309804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tterutdanning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19B900C6-7567-4872-9F96-694D52F8E0DD}"/>
              </a:ext>
            </a:extLst>
          </p:cNvPr>
          <p:cNvSpPr txBox="1"/>
          <p:nvPr/>
        </p:nvSpPr>
        <p:spPr>
          <a:xfrm>
            <a:off x="5302362" y="5713945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</a:t>
            </a:r>
          </a:p>
        </p:txBody>
      </p:sp>
      <p:cxnSp>
        <p:nvCxnSpPr>
          <p:cNvPr id="416" name="Connector: Elbow 415">
            <a:extLst>
              <a:ext uri="{FF2B5EF4-FFF2-40B4-BE49-F238E27FC236}">
                <a16:creationId xmlns:a16="http://schemas.microsoft.com/office/drawing/2014/main" id="{3898968F-0D32-4BE0-ADA8-30770F85B9CD}"/>
              </a:ext>
            </a:extLst>
          </p:cNvPr>
          <p:cNvCxnSpPr>
            <a:cxnSpLocks/>
            <a:stCxn id="13" idx="3"/>
            <a:endCxn id="378" idx="1"/>
          </p:cNvCxnSpPr>
          <p:nvPr/>
        </p:nvCxnSpPr>
        <p:spPr>
          <a:xfrm flipV="1">
            <a:off x="3938078" y="1737483"/>
            <a:ext cx="1555738" cy="25713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0" name="Connector: Elbow 419">
            <a:extLst>
              <a:ext uri="{FF2B5EF4-FFF2-40B4-BE49-F238E27FC236}">
                <a16:creationId xmlns:a16="http://schemas.microsoft.com/office/drawing/2014/main" id="{E96341F6-C002-446F-9555-0996EEC0C025}"/>
              </a:ext>
            </a:extLst>
          </p:cNvPr>
          <p:cNvCxnSpPr>
            <a:cxnSpLocks/>
            <a:stCxn id="13" idx="3"/>
            <a:endCxn id="379" idx="1"/>
          </p:cNvCxnSpPr>
          <p:nvPr/>
        </p:nvCxnSpPr>
        <p:spPr>
          <a:xfrm>
            <a:off x="3938078" y="1994616"/>
            <a:ext cx="1553628" cy="21746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8" name="Connector: Elbow 457">
            <a:extLst>
              <a:ext uri="{FF2B5EF4-FFF2-40B4-BE49-F238E27FC236}">
                <a16:creationId xmlns:a16="http://schemas.microsoft.com/office/drawing/2014/main" id="{F130D529-B7BD-4EB6-9EF2-CB0B81FAD182}"/>
              </a:ext>
            </a:extLst>
          </p:cNvPr>
          <p:cNvCxnSpPr>
            <a:cxnSpLocks/>
            <a:stCxn id="562" idx="3"/>
            <a:endCxn id="391" idx="1"/>
          </p:cNvCxnSpPr>
          <p:nvPr/>
        </p:nvCxnSpPr>
        <p:spPr>
          <a:xfrm flipV="1">
            <a:off x="3929795" y="5454525"/>
            <a:ext cx="1372567" cy="206418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1" name="Connector: Elbow 460">
            <a:extLst>
              <a:ext uri="{FF2B5EF4-FFF2-40B4-BE49-F238E27FC236}">
                <a16:creationId xmlns:a16="http://schemas.microsoft.com/office/drawing/2014/main" id="{947828DC-3453-47DD-9ADB-274E9D3591D8}"/>
              </a:ext>
            </a:extLst>
          </p:cNvPr>
          <p:cNvCxnSpPr>
            <a:cxnSpLocks/>
            <a:stCxn id="562" idx="3"/>
            <a:endCxn id="400" idx="1"/>
          </p:cNvCxnSpPr>
          <p:nvPr/>
        </p:nvCxnSpPr>
        <p:spPr>
          <a:xfrm>
            <a:off x="3929795" y="5660943"/>
            <a:ext cx="1372567" cy="19772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2" name="TextBox 561">
            <a:extLst>
              <a:ext uri="{FF2B5EF4-FFF2-40B4-BE49-F238E27FC236}">
                <a16:creationId xmlns:a16="http://schemas.microsoft.com/office/drawing/2014/main" id="{D8B69CD4-B059-41FB-AC64-1BDA3219354E}"/>
              </a:ext>
            </a:extLst>
          </p:cNvPr>
          <p:cNvSpPr txBox="1"/>
          <p:nvPr/>
        </p:nvSpPr>
        <p:spPr>
          <a:xfrm>
            <a:off x="2235935" y="5150165"/>
            <a:ext cx="1693860" cy="1021556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Ikke-økonomisk aktivitet</a:t>
            </a:r>
          </a:p>
        </p:txBody>
      </p:sp>
      <p:cxnSp>
        <p:nvCxnSpPr>
          <p:cNvPr id="566" name="Connector: Elbow 565">
            <a:extLst>
              <a:ext uri="{FF2B5EF4-FFF2-40B4-BE49-F238E27FC236}">
                <a16:creationId xmlns:a16="http://schemas.microsoft.com/office/drawing/2014/main" id="{38DD957F-BC27-496E-92F3-A86C719F6DE3}"/>
              </a:ext>
            </a:extLst>
          </p:cNvPr>
          <p:cNvCxnSpPr>
            <a:cxnSpLocks/>
            <a:stCxn id="12" idx="3"/>
            <a:endCxn id="562" idx="1"/>
          </p:cNvCxnSpPr>
          <p:nvPr/>
        </p:nvCxnSpPr>
        <p:spPr>
          <a:xfrm>
            <a:off x="1513478" y="3214052"/>
            <a:ext cx="722457" cy="2446891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Box 121">
            <a:extLst>
              <a:ext uri="{FF2B5EF4-FFF2-40B4-BE49-F238E27FC236}">
                <a16:creationId xmlns:a16="http://schemas.microsoft.com/office/drawing/2014/main" id="{A08538FC-46CB-4AFA-92BE-E6EB2C995F0B}"/>
              </a:ext>
            </a:extLst>
          </p:cNvPr>
          <p:cNvSpPr txBox="1"/>
          <p:nvPr/>
        </p:nvSpPr>
        <p:spPr>
          <a:xfrm>
            <a:off x="9253249" y="5224418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Videreutdanning: Ledelse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88016F43-90FE-46DB-A7E4-733125CB7413}"/>
              </a:ext>
            </a:extLst>
          </p:cNvPr>
          <p:cNvSpPr txBox="1"/>
          <p:nvPr/>
        </p:nvSpPr>
        <p:spPr>
          <a:xfrm>
            <a:off x="9253249" y="5969771"/>
            <a:ext cx="2835150" cy="289441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Prosjektledelse</a:t>
            </a:r>
          </a:p>
        </p:txBody>
      </p:sp>
      <p:cxnSp>
        <p:nvCxnSpPr>
          <p:cNvPr id="125" name="Connector: Elbow 124">
            <a:extLst>
              <a:ext uri="{FF2B5EF4-FFF2-40B4-BE49-F238E27FC236}">
                <a16:creationId xmlns:a16="http://schemas.microsoft.com/office/drawing/2014/main" id="{C809E2C5-B3A4-4052-B7CE-57010C6B7D27}"/>
              </a:ext>
            </a:extLst>
          </p:cNvPr>
          <p:cNvCxnSpPr>
            <a:cxnSpLocks/>
            <a:stCxn id="400" idx="3"/>
            <a:endCxn id="122" idx="1"/>
          </p:cNvCxnSpPr>
          <p:nvPr/>
        </p:nvCxnSpPr>
        <p:spPr>
          <a:xfrm flipV="1">
            <a:off x="8137512" y="5369139"/>
            <a:ext cx="1115737" cy="489527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nector: Elbow 127">
            <a:extLst>
              <a:ext uri="{FF2B5EF4-FFF2-40B4-BE49-F238E27FC236}">
                <a16:creationId xmlns:a16="http://schemas.microsoft.com/office/drawing/2014/main" id="{43F25810-6D8C-4D1E-B9D4-1C640C40C172}"/>
              </a:ext>
            </a:extLst>
          </p:cNvPr>
          <p:cNvCxnSpPr>
            <a:cxnSpLocks/>
            <a:stCxn id="400" idx="3"/>
            <a:endCxn id="123" idx="1"/>
          </p:cNvCxnSpPr>
          <p:nvPr/>
        </p:nvCxnSpPr>
        <p:spPr>
          <a:xfrm>
            <a:off x="8137512" y="5858666"/>
            <a:ext cx="1115737" cy="255826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84BAE53F-E334-4874-BBE1-61E154EF79FE}"/>
              </a:ext>
            </a:extLst>
          </p:cNvPr>
          <p:cNvSpPr txBox="1"/>
          <p:nvPr/>
        </p:nvSpPr>
        <p:spPr>
          <a:xfrm>
            <a:off x="9260947" y="1813907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Ledelse i organisasjoner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47A9CAF-9D8D-4E17-8C1A-9BE1BE68EDB2}"/>
              </a:ext>
            </a:extLst>
          </p:cNvPr>
          <p:cNvSpPr txBox="1"/>
          <p:nvPr/>
        </p:nvSpPr>
        <p:spPr>
          <a:xfrm>
            <a:off x="9253249" y="2467489"/>
            <a:ext cx="2720846" cy="28944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33CCCC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>
                <a:solidFill>
                  <a:schemeClr val="bg1"/>
                </a:solidFill>
              </a:rPr>
              <a:t>Emne: økonomistyring</a:t>
            </a:r>
          </a:p>
        </p:txBody>
      </p:sp>
      <p:cxnSp>
        <p:nvCxnSpPr>
          <p:cNvPr id="136" name="Connector: Elbow 135">
            <a:extLst>
              <a:ext uri="{FF2B5EF4-FFF2-40B4-BE49-F238E27FC236}">
                <a16:creationId xmlns:a16="http://schemas.microsoft.com/office/drawing/2014/main" id="{E1042028-D2DC-491C-A5ED-8D89E7CD2185}"/>
              </a:ext>
            </a:extLst>
          </p:cNvPr>
          <p:cNvCxnSpPr>
            <a:cxnSpLocks/>
            <a:stCxn id="379" idx="3"/>
            <a:endCxn id="134" idx="1"/>
          </p:cNvCxnSpPr>
          <p:nvPr/>
        </p:nvCxnSpPr>
        <p:spPr>
          <a:xfrm flipV="1">
            <a:off x="8212552" y="1958628"/>
            <a:ext cx="1048395" cy="253453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or: Elbow 138">
            <a:extLst>
              <a:ext uri="{FF2B5EF4-FFF2-40B4-BE49-F238E27FC236}">
                <a16:creationId xmlns:a16="http://schemas.microsoft.com/office/drawing/2014/main" id="{A31669D5-3239-4618-8AE1-3B2AB347EDA2}"/>
              </a:ext>
            </a:extLst>
          </p:cNvPr>
          <p:cNvCxnSpPr>
            <a:cxnSpLocks/>
            <a:stCxn id="379" idx="3"/>
            <a:endCxn id="135" idx="1"/>
          </p:cNvCxnSpPr>
          <p:nvPr/>
        </p:nvCxnSpPr>
        <p:spPr>
          <a:xfrm>
            <a:off x="8212552" y="2212081"/>
            <a:ext cx="1040697" cy="400129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6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4" name="TextBox 503">
            <a:extLst>
              <a:ext uri="{FF2B5EF4-FFF2-40B4-BE49-F238E27FC236}">
                <a16:creationId xmlns:a16="http://schemas.microsoft.com/office/drawing/2014/main" id="{1C53934C-B3CE-4DE7-A61E-AFA588D652D8}"/>
              </a:ext>
            </a:extLst>
          </p:cNvPr>
          <p:cNvSpPr txBox="1"/>
          <p:nvPr/>
        </p:nvSpPr>
        <p:spPr>
          <a:xfrm>
            <a:off x="268732" y="88827"/>
            <a:ext cx="1121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Ramme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90534D7A-B11C-4EE8-9D5D-9720911F00E3}"/>
              </a:ext>
            </a:extLst>
          </p:cNvPr>
          <p:cNvSpPr txBox="1"/>
          <p:nvPr/>
        </p:nvSpPr>
        <p:spPr>
          <a:xfrm>
            <a:off x="2185382" y="-8337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styp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0C436787-F67B-414E-8AEC-6B4C36F43ECE}"/>
              </a:ext>
            </a:extLst>
          </p:cNvPr>
          <p:cNvSpPr txBox="1"/>
          <p:nvPr/>
        </p:nvSpPr>
        <p:spPr>
          <a:xfrm>
            <a:off x="5880661" y="39026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Aktivitet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54657A7B-9281-48BE-AEA7-CB62137E8469}"/>
              </a:ext>
            </a:extLst>
          </p:cNvPr>
          <p:cNvSpPr txBox="1"/>
          <p:nvPr/>
        </p:nvSpPr>
        <p:spPr>
          <a:xfrm>
            <a:off x="9611718" y="45015"/>
            <a:ext cx="17949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Delprosjekt</a:t>
            </a:r>
          </a:p>
        </p:txBody>
      </p:sp>
    </p:spTree>
    <p:extLst>
      <p:ext uri="{BB962C8B-B14F-4D97-AF65-F5344CB8AC3E}">
        <p14:creationId xmlns:p14="http://schemas.microsoft.com/office/powerpoint/2010/main" val="3791859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378" grpId="0" animBg="1"/>
      <p:bldP spid="379" grpId="0" animBg="1"/>
      <p:bldP spid="391" grpId="0" animBg="1"/>
      <p:bldP spid="400" grpId="0" animBg="1"/>
      <p:bldP spid="562" grpId="0" animBg="1"/>
      <p:bldP spid="122" grpId="0" animBg="1"/>
      <p:bldP spid="123" grpId="0" animBg="1"/>
      <p:bldP spid="134" grpId="0" animBg="1"/>
      <p:bldP spid="13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1349B4B-DB5F-4C36-A1CC-E08CF26E2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Definisjon BOTT økonomimode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FD670F-6302-4AE8-ABDC-CAED5DDF82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8393" y="841247"/>
            <a:ext cx="8491681" cy="512064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nb-NO" i="1">
                <a:solidFill>
                  <a:schemeClr val="tx2"/>
                </a:solidFill>
              </a:rPr>
              <a:t>«Økonomimodellen er et rammeverk for å ivareta virksomhetenes samlede økonomiske styringsbehov. Den gir strukturert informasjon om virksomheten og skal ivareta informasjon som kreves for at BOTT skal kunne rapportere i henhold til identifiserte behov både fra interne og eksterne interessenter.»</a:t>
            </a:r>
            <a:r>
              <a:rPr lang="nb-NO">
                <a:solidFill>
                  <a:schemeClr val="tx2"/>
                </a:solidFill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82709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0420F2A0-F9AA-4D13-B13F-9945B5A2EE82}"/>
              </a:ext>
            </a:extLst>
          </p:cNvPr>
          <p:cNvGraphicFramePr/>
          <p:nvPr/>
        </p:nvGraphicFramePr>
        <p:xfrm>
          <a:off x="6096000" y="1316285"/>
          <a:ext cx="5991225" cy="46368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BB5580F0-CC64-4464-A71C-D6FF4D3CF8C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62137123"/>
              </p:ext>
            </p:extLst>
          </p:nvPr>
        </p:nvGraphicFramePr>
        <p:xfrm>
          <a:off x="395539" y="3884286"/>
          <a:ext cx="5476624" cy="23445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id="{75F79185-85F8-4B84-8F38-FF09E7EBF7C1}"/>
              </a:ext>
            </a:extLst>
          </p:cNvPr>
          <p:cNvGraphicFramePr/>
          <p:nvPr/>
        </p:nvGraphicFramePr>
        <p:xfrm>
          <a:off x="395539" y="1341921"/>
          <a:ext cx="5476624" cy="1866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4" name="TekstSylinder 3">
            <a:extLst>
              <a:ext uri="{FF2B5EF4-FFF2-40B4-BE49-F238E27FC236}">
                <a16:creationId xmlns:a16="http://schemas.microsoft.com/office/drawing/2014/main" id="{3628EBF3-DDA4-42A7-85DC-BEFB5E40FD8E}"/>
              </a:ext>
            </a:extLst>
          </p:cNvPr>
          <p:cNvSpPr txBox="1"/>
          <p:nvPr/>
        </p:nvSpPr>
        <p:spPr>
          <a:xfrm>
            <a:off x="333286" y="276225"/>
            <a:ext cx="11572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Prosjektstruktur – muligheter i tillegg til hierarkiet ved særskilte behov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CDDE172-0018-4666-8A6F-69BDA6B191E9}"/>
              </a:ext>
            </a:extLst>
          </p:cNvPr>
          <p:cNvSpPr txBox="1"/>
          <p:nvPr/>
        </p:nvSpPr>
        <p:spPr>
          <a:xfrm>
            <a:off x="395539" y="1051582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Enkel variant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9634B0D5-81F1-4A4C-A94B-2FC1D7A1691B}"/>
              </a:ext>
            </a:extLst>
          </p:cNvPr>
          <p:cNvSpPr txBox="1"/>
          <p:nvPr/>
        </p:nvSpPr>
        <p:spPr>
          <a:xfrm>
            <a:off x="395539" y="3558993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Med prosjekt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931E60BE-9753-43F8-BDD1-63526D3B9E47}"/>
              </a:ext>
            </a:extLst>
          </p:cNvPr>
          <p:cNvSpPr txBox="1"/>
          <p:nvPr/>
        </p:nvSpPr>
        <p:spPr>
          <a:xfrm>
            <a:off x="6319837" y="1013482"/>
            <a:ext cx="547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Med prosjekt og hovedprosjekt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68EAF3C4-E589-4738-85BB-61950D50D587}"/>
              </a:ext>
            </a:extLst>
          </p:cNvPr>
          <p:cNvSpPr/>
          <p:nvPr/>
        </p:nvSpPr>
        <p:spPr>
          <a:xfrm>
            <a:off x="11001909" y="4776749"/>
            <a:ext cx="1085316" cy="2573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 dirty="0"/>
              <a:t>Utdanningsdrift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5D7EB9B-D336-47B9-90A2-2686EE0D131F}"/>
              </a:ext>
            </a:extLst>
          </p:cNvPr>
          <p:cNvSpPr/>
          <p:nvPr/>
        </p:nvSpPr>
        <p:spPr>
          <a:xfrm>
            <a:off x="5073295" y="4420113"/>
            <a:ext cx="1085316" cy="3322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/>
              <a:t>Investering infrastruktur</a:t>
            </a:r>
          </a:p>
        </p:txBody>
      </p:sp>
      <p:sp>
        <p:nvSpPr>
          <p:cNvPr id="12" name="Rektangel 1">
            <a:extLst>
              <a:ext uri="{FF2B5EF4-FFF2-40B4-BE49-F238E27FC236}">
                <a16:creationId xmlns:a16="http://schemas.microsoft.com/office/drawing/2014/main" id="{8A566E3B-B184-494F-8754-BAAE9F1C6E08}"/>
              </a:ext>
            </a:extLst>
          </p:cNvPr>
          <p:cNvSpPr/>
          <p:nvPr/>
        </p:nvSpPr>
        <p:spPr>
          <a:xfrm>
            <a:off x="5073295" y="5941706"/>
            <a:ext cx="1085316" cy="2573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 dirty="0"/>
              <a:t>Utdanningsdrift</a:t>
            </a:r>
          </a:p>
        </p:txBody>
      </p:sp>
      <p:sp>
        <p:nvSpPr>
          <p:cNvPr id="13" name="Rektangel 10">
            <a:extLst>
              <a:ext uri="{FF2B5EF4-FFF2-40B4-BE49-F238E27FC236}">
                <a16:creationId xmlns:a16="http://schemas.microsoft.com/office/drawing/2014/main" id="{98565884-77F5-486B-BBF4-C63CD87C785F}"/>
              </a:ext>
            </a:extLst>
          </p:cNvPr>
          <p:cNvSpPr/>
          <p:nvPr/>
        </p:nvSpPr>
        <p:spPr>
          <a:xfrm>
            <a:off x="11077575" y="5773312"/>
            <a:ext cx="1085316" cy="332212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1100"/>
              <a:t>Investering infrastruktur</a:t>
            </a:r>
          </a:p>
        </p:txBody>
      </p:sp>
    </p:spTree>
    <p:extLst>
      <p:ext uri="{BB962C8B-B14F-4D97-AF65-F5344CB8AC3E}">
        <p14:creationId xmlns:p14="http://schemas.microsoft.com/office/powerpoint/2010/main" val="147669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Graphic spid="22" grpId="0">
        <p:bldAsOne/>
      </p:bldGraphic>
      <p:bldGraphic spid="23" grpId="0">
        <p:bldAsOne/>
      </p:bldGraphic>
      <p:bldP spid="24" grpId="0"/>
      <p:bldP spid="25" grpId="0"/>
      <p:bldP spid="26" grpId="0"/>
      <p:bldP spid="2" grpId="0" animBg="1"/>
      <p:bldP spid="11" grpId="0" animBg="1"/>
      <p:bldP spid="12" grpId="0" animBg="1"/>
      <p:bldP spid="1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ktangel 55">
            <a:extLst>
              <a:ext uri="{FF2B5EF4-FFF2-40B4-BE49-F238E27FC236}">
                <a16:creationId xmlns:a16="http://schemas.microsoft.com/office/drawing/2014/main" id="{A8CF53E3-6977-493C-A855-679F73AD97A8}"/>
              </a:ext>
            </a:extLst>
          </p:cNvPr>
          <p:cNvSpPr/>
          <p:nvPr/>
        </p:nvSpPr>
        <p:spPr>
          <a:xfrm>
            <a:off x="3682678" y="4712781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prosjektgruppe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2F7380A6-BB8C-46FE-9230-7EB9503981DF}"/>
              </a:ext>
            </a:extLst>
          </p:cNvPr>
          <p:cNvSpPr/>
          <p:nvPr/>
        </p:nvSpPr>
        <p:spPr>
          <a:xfrm>
            <a:off x="3682678" y="381022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ved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59B9A19C-6394-4818-970D-21046A660339}"/>
              </a:ext>
            </a:extLst>
          </p:cNvPr>
          <p:cNvSpPr/>
          <p:nvPr/>
        </p:nvSpPr>
        <p:spPr>
          <a:xfrm>
            <a:off x="3682678" y="306841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rategisk satsning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Rektangel 32">
            <a:extLst>
              <a:ext uri="{FF2B5EF4-FFF2-40B4-BE49-F238E27FC236}">
                <a16:creationId xmlns:a16="http://schemas.microsoft.com/office/drawing/2014/main" id="{EE7308FF-0AC5-4E1D-813E-EA4223308322}"/>
              </a:ext>
            </a:extLst>
          </p:cNvPr>
          <p:cNvSpPr/>
          <p:nvPr/>
        </p:nvSpPr>
        <p:spPr>
          <a:xfrm>
            <a:off x="3682678" y="234713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ntertype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TextBox 89">
            <a:extLst>
              <a:ext uri="{FF2B5EF4-FFF2-40B4-BE49-F238E27FC236}">
                <a16:creationId xmlns:a16="http://schemas.microsoft.com/office/drawing/2014/main" id="{8C6F944B-BDC1-413E-B4B9-683FC39F4582}"/>
              </a:ext>
            </a:extLst>
          </p:cNvPr>
          <p:cNvSpPr txBox="1"/>
          <p:nvPr/>
        </p:nvSpPr>
        <p:spPr>
          <a:xfrm>
            <a:off x="4911789" y="5793639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ledes</a:t>
            </a:r>
          </a:p>
        </p:txBody>
      </p:sp>
      <p:cxnSp>
        <p:nvCxnSpPr>
          <p:cNvPr id="74" name="Connector: Elbow 110">
            <a:extLst>
              <a:ext uri="{FF2B5EF4-FFF2-40B4-BE49-F238E27FC236}">
                <a16:creationId xmlns:a16="http://schemas.microsoft.com/office/drawing/2014/main" id="{1DE3E399-CC85-4B56-86BE-50FE3F727975}"/>
              </a:ext>
            </a:extLst>
          </p:cNvPr>
          <p:cNvCxnSpPr>
            <a:cxnSpLocks/>
            <a:endCxn id="88" idx="1"/>
          </p:cNvCxnSpPr>
          <p:nvPr/>
        </p:nvCxnSpPr>
        <p:spPr>
          <a:xfrm rot="16200000" flipV="1">
            <a:off x="3842235" y="3621045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106">
            <a:extLst>
              <a:ext uri="{FF2B5EF4-FFF2-40B4-BE49-F238E27FC236}">
                <a16:creationId xmlns:a16="http://schemas.microsoft.com/office/drawing/2014/main" id="{B7A0013B-16D7-4D7F-87C0-C1EB7E7579DE}"/>
              </a:ext>
            </a:extLst>
          </p:cNvPr>
          <p:cNvCxnSpPr>
            <a:cxnSpLocks/>
            <a:stCxn id="56" idx="1"/>
            <a:endCxn id="69" idx="1"/>
          </p:cNvCxnSpPr>
          <p:nvPr/>
        </p:nvCxnSpPr>
        <p:spPr>
          <a:xfrm rot="10800000">
            <a:off x="3682678" y="3347417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ktangel 76">
            <a:extLst>
              <a:ext uri="{FF2B5EF4-FFF2-40B4-BE49-F238E27FC236}">
                <a16:creationId xmlns:a16="http://schemas.microsoft.com/office/drawing/2014/main" id="{06D307AE-CD29-40F9-A337-B370D338A397}"/>
              </a:ext>
            </a:extLst>
          </p:cNvPr>
          <p:cNvSpPr/>
          <p:nvPr/>
        </p:nvSpPr>
        <p:spPr>
          <a:xfrm>
            <a:off x="5596818" y="4693469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Internprosjekt</a:t>
            </a:r>
          </a:p>
        </p:txBody>
      </p:sp>
      <p:sp>
        <p:nvSpPr>
          <p:cNvPr id="78" name="TekstSylinder 77">
            <a:extLst>
              <a:ext uri="{FF2B5EF4-FFF2-40B4-BE49-F238E27FC236}">
                <a16:creationId xmlns:a16="http://schemas.microsoft.com/office/drawing/2014/main" id="{0C3A3B2A-7283-4E37-98E1-1CCB0F13B465}"/>
              </a:ext>
            </a:extLst>
          </p:cNvPr>
          <p:cNvSpPr txBox="1"/>
          <p:nvPr/>
        </p:nvSpPr>
        <p:spPr>
          <a:xfrm>
            <a:off x="4916225" y="4656002"/>
            <a:ext cx="212990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cxnSp>
        <p:nvCxnSpPr>
          <p:cNvPr id="83" name="Connector: Elbow 97">
            <a:extLst>
              <a:ext uri="{FF2B5EF4-FFF2-40B4-BE49-F238E27FC236}">
                <a16:creationId xmlns:a16="http://schemas.microsoft.com/office/drawing/2014/main" id="{53793660-A747-4076-95D9-2088792017F7}"/>
              </a:ext>
            </a:extLst>
          </p:cNvPr>
          <p:cNvCxnSpPr>
            <a:cxnSpLocks/>
            <a:stCxn id="77" idx="2"/>
          </p:cNvCxnSpPr>
          <p:nvPr/>
        </p:nvCxnSpPr>
        <p:spPr>
          <a:xfrm rot="5400000">
            <a:off x="5367655" y="4673632"/>
            <a:ext cx="8878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4" name="Rektangel 30">
            <a:extLst>
              <a:ext uri="{FF2B5EF4-FFF2-40B4-BE49-F238E27FC236}">
                <a16:creationId xmlns:a16="http://schemas.microsoft.com/office/drawing/2014/main" id="{36574E8E-9FC5-46E4-B590-7185D0D6B847}"/>
              </a:ext>
            </a:extLst>
          </p:cNvPr>
          <p:cNvSpPr/>
          <p:nvPr/>
        </p:nvSpPr>
        <p:spPr>
          <a:xfrm>
            <a:off x="5596817" y="378080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Spesifisering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 </a:t>
            </a:r>
            <a:r>
              <a:rPr kumimoji="0" lang="nb-NO" sz="1100" b="0" i="0" u="none" strike="noStrike" kern="1200" cap="none" spc="0" normalizeH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eringskilde</a:t>
            </a:r>
            <a:r>
              <a:rPr kumimoji="0" lang="nb-NO" sz="1100" b="0" i="0" u="none" strike="noStrike" kern="1200" cap="none" spc="0" normalizeH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5" name="Rektangel 31">
            <a:extLst>
              <a:ext uri="{FF2B5EF4-FFF2-40B4-BE49-F238E27FC236}">
                <a16:creationId xmlns:a16="http://schemas.microsoft.com/office/drawing/2014/main" id="{D8A71A8B-E9C3-4729-8E6F-0FB3A0BC9296}"/>
              </a:ext>
            </a:extLst>
          </p:cNvPr>
          <p:cNvSpPr/>
          <p:nvPr/>
        </p:nvSpPr>
        <p:spPr>
          <a:xfrm>
            <a:off x="5606245" y="307100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inansieringskilde</a:t>
            </a:r>
          </a:p>
        </p:txBody>
      </p:sp>
      <p:sp>
        <p:nvSpPr>
          <p:cNvPr id="86" name="Rektangel 32">
            <a:extLst>
              <a:ext uri="{FF2B5EF4-FFF2-40B4-BE49-F238E27FC236}">
                <a16:creationId xmlns:a16="http://schemas.microsoft.com/office/drawing/2014/main" id="{AAEE27AC-F759-4BCB-885D-7EDD12185E88}"/>
              </a:ext>
            </a:extLst>
          </p:cNvPr>
          <p:cNvSpPr/>
          <p:nvPr/>
        </p:nvSpPr>
        <p:spPr>
          <a:xfrm>
            <a:off x="5596817" y="231379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8" name="Rektangel 32">
            <a:extLst>
              <a:ext uri="{FF2B5EF4-FFF2-40B4-BE49-F238E27FC236}">
                <a16:creationId xmlns:a16="http://schemas.microsoft.com/office/drawing/2014/main" id="{FC6ED036-0DAF-4657-B5E9-0483E47EE7C9}"/>
              </a:ext>
            </a:extLst>
          </p:cNvPr>
          <p:cNvSpPr/>
          <p:nvPr/>
        </p:nvSpPr>
        <p:spPr>
          <a:xfrm>
            <a:off x="5596817" y="158746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marL="0" marR="0" lvl="0" indent="0" algn="ctr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5" name="Kobling: vinkel 94">
            <a:extLst>
              <a:ext uri="{FF2B5EF4-FFF2-40B4-BE49-F238E27FC236}">
                <a16:creationId xmlns:a16="http://schemas.microsoft.com/office/drawing/2014/main" id="{3805FE83-2639-4264-8EA0-C02B3B428D37}"/>
              </a:ext>
            </a:extLst>
          </p:cNvPr>
          <p:cNvCxnSpPr>
            <a:cxnSpLocks/>
            <a:stCxn id="77" idx="1"/>
            <a:endCxn id="84" idx="1"/>
          </p:cNvCxnSpPr>
          <p:nvPr/>
        </p:nvCxnSpPr>
        <p:spPr>
          <a:xfrm rot="10800000">
            <a:off x="5596818" y="4059807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Kobling: vinkel 95">
            <a:extLst>
              <a:ext uri="{FF2B5EF4-FFF2-40B4-BE49-F238E27FC236}">
                <a16:creationId xmlns:a16="http://schemas.microsoft.com/office/drawing/2014/main" id="{4D80CA54-FDA1-4AF8-B2C9-ED87A087AB34}"/>
              </a:ext>
            </a:extLst>
          </p:cNvPr>
          <p:cNvCxnSpPr>
            <a:cxnSpLocks/>
            <a:stCxn id="77" idx="1"/>
            <a:endCxn id="86" idx="1"/>
          </p:cNvCxnSpPr>
          <p:nvPr/>
        </p:nvCxnSpPr>
        <p:spPr>
          <a:xfrm rot="10800000">
            <a:off x="5596818" y="2592793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36BB6E26-91E8-4CA3-9B56-6D374CD3B22F}"/>
              </a:ext>
            </a:extLst>
          </p:cNvPr>
          <p:cNvCxnSpPr>
            <a:cxnSpLocks/>
            <a:stCxn id="77" idx="1"/>
            <a:endCxn id="85" idx="1"/>
          </p:cNvCxnSpPr>
          <p:nvPr/>
        </p:nvCxnSpPr>
        <p:spPr>
          <a:xfrm rot="10800000" flipH="1">
            <a:off x="5596817" y="3350009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9" name="Kobling: vinkel 98">
            <a:extLst>
              <a:ext uri="{FF2B5EF4-FFF2-40B4-BE49-F238E27FC236}">
                <a16:creationId xmlns:a16="http://schemas.microsoft.com/office/drawing/2014/main" id="{E8F7A585-6D0E-4A9D-8A9D-88BA450D7A59}"/>
              </a:ext>
            </a:extLst>
          </p:cNvPr>
          <p:cNvCxnSpPr>
            <a:cxnSpLocks/>
            <a:stCxn id="56" idx="1"/>
            <a:endCxn id="61" idx="1"/>
          </p:cNvCxnSpPr>
          <p:nvPr/>
        </p:nvCxnSpPr>
        <p:spPr>
          <a:xfrm rot="10800000">
            <a:off x="3682678" y="4089223"/>
            <a:ext cx="12700" cy="1089182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Kobling: vinkel 100">
            <a:extLst>
              <a:ext uri="{FF2B5EF4-FFF2-40B4-BE49-F238E27FC236}">
                <a16:creationId xmlns:a16="http://schemas.microsoft.com/office/drawing/2014/main" id="{6389C4B9-D484-4916-BA14-E21A1C262D08}"/>
              </a:ext>
            </a:extLst>
          </p:cNvPr>
          <p:cNvCxnSpPr>
            <a:cxnSpLocks/>
            <a:stCxn id="56" idx="1"/>
            <a:endCxn id="70" idx="1"/>
          </p:cNvCxnSpPr>
          <p:nvPr/>
        </p:nvCxnSpPr>
        <p:spPr>
          <a:xfrm rot="10800000">
            <a:off x="3682678" y="2626131"/>
            <a:ext cx="12700" cy="2552274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cxnSp>
        <p:nvCxnSpPr>
          <p:cNvPr id="45" name="Rett linje 44"/>
          <p:cNvCxnSpPr>
            <a:cxnSpLocks/>
          </p:cNvCxnSpPr>
          <p:nvPr/>
        </p:nvCxnSpPr>
        <p:spPr>
          <a:xfrm flipH="1">
            <a:off x="-3693" y="5754329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Rett linje 48"/>
          <p:cNvCxnSpPr>
            <a:cxnSpLocks/>
          </p:cNvCxnSpPr>
          <p:nvPr/>
        </p:nvCxnSpPr>
        <p:spPr>
          <a:xfrm flipH="1">
            <a:off x="-3693" y="4546809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kstSylinder 7"/>
          <p:cNvSpPr txBox="1"/>
          <p:nvPr/>
        </p:nvSpPr>
        <p:spPr>
          <a:xfrm>
            <a:off x="2057115" y="48350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</a:p>
        </p:txBody>
      </p:sp>
      <p:sp>
        <p:nvSpPr>
          <p:cNvPr id="9" name="Rektangel 8"/>
          <p:cNvSpPr/>
          <p:nvPr/>
        </p:nvSpPr>
        <p:spPr>
          <a:xfrm>
            <a:off x="2724242" y="4803006"/>
            <a:ext cx="256769" cy="261608"/>
          </a:xfrm>
          <a:prstGeom prst="rect">
            <a:avLst/>
          </a:prstGeom>
        </p:spPr>
        <p:txBody>
          <a:bodyPr wrap="none" lIns="91424" tIns="45719" rIns="91424" bIns="45719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11825163" y="462491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5F01F82-4BBB-4536-A4A6-AEA3AEC4F597}"/>
              </a:ext>
            </a:extLst>
          </p:cNvPr>
          <p:cNvSpPr txBox="1"/>
          <p:nvPr/>
        </p:nvSpPr>
        <p:spPr>
          <a:xfrm>
            <a:off x="6816882" y="3793493"/>
            <a:ext cx="187806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D</a:t>
            </a:r>
          </a:p>
        </p:txBody>
      </p:sp>
      <p:sp>
        <p:nvSpPr>
          <p:cNvPr id="57" name="TekstSylinder 56">
            <a:extLst>
              <a:ext uri="{FF2B5EF4-FFF2-40B4-BE49-F238E27FC236}">
                <a16:creationId xmlns:a16="http://schemas.microsoft.com/office/drawing/2014/main" id="{1BF09D51-8D62-496B-ABE2-0E5ACA8BD519}"/>
              </a:ext>
            </a:extLst>
          </p:cNvPr>
          <p:cNvSpPr txBox="1"/>
          <p:nvPr/>
        </p:nvSpPr>
        <p:spPr>
          <a:xfrm>
            <a:off x="6823237" y="3062173"/>
            <a:ext cx="185313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Bevilgning fra KD</a:t>
            </a:r>
          </a:p>
        </p:txBody>
      </p:sp>
      <p:sp>
        <p:nvSpPr>
          <p:cNvPr id="60" name="TekstSylinder 59">
            <a:extLst>
              <a:ext uri="{FF2B5EF4-FFF2-40B4-BE49-F238E27FC236}">
                <a16:creationId xmlns:a16="http://schemas.microsoft.com/office/drawing/2014/main" id="{22758319-04EF-48F9-9736-A1A6B12BD2F8}"/>
              </a:ext>
            </a:extLst>
          </p:cNvPr>
          <p:cNvSpPr txBox="1"/>
          <p:nvPr/>
        </p:nvSpPr>
        <p:spPr>
          <a:xfrm>
            <a:off x="6810219" y="1548766"/>
            <a:ext cx="1859485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Strategisk aktivitet</a:t>
            </a:r>
          </a:p>
        </p:txBody>
      </p:sp>
      <p:sp>
        <p:nvSpPr>
          <p:cNvPr id="62" name="TekstSylinder 61">
            <a:extLst>
              <a:ext uri="{FF2B5EF4-FFF2-40B4-BE49-F238E27FC236}">
                <a16:creationId xmlns:a16="http://schemas.microsoft.com/office/drawing/2014/main" id="{2526863B-F140-4A60-8F68-4CC5C859E442}"/>
              </a:ext>
            </a:extLst>
          </p:cNvPr>
          <p:cNvSpPr txBox="1"/>
          <p:nvPr/>
        </p:nvSpPr>
        <p:spPr>
          <a:xfrm>
            <a:off x="6810219" y="4663737"/>
            <a:ext cx="2103193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200101 </a:t>
            </a:r>
            <a:r>
              <a:rPr lang="nb-NO" sz="1200" err="1"/>
              <a:t>Stip</a:t>
            </a:r>
            <a:r>
              <a:rPr lang="nb-NO" sz="1200"/>
              <a:t>. K. Rasmussen</a:t>
            </a:r>
          </a:p>
        </p:txBody>
      </p:sp>
      <p:sp>
        <p:nvSpPr>
          <p:cNvPr id="65" name="TekstSylinder 64">
            <a:extLst>
              <a:ext uri="{FF2B5EF4-FFF2-40B4-BE49-F238E27FC236}">
                <a16:creationId xmlns:a16="http://schemas.microsoft.com/office/drawing/2014/main" id="{9A5009CE-EC1A-42BD-AA46-64AAEBE88152}"/>
              </a:ext>
            </a:extLst>
          </p:cNvPr>
          <p:cNvSpPr txBox="1"/>
          <p:nvPr/>
        </p:nvSpPr>
        <p:spPr>
          <a:xfrm>
            <a:off x="6810217" y="5257269"/>
            <a:ext cx="209147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400101 </a:t>
            </a:r>
            <a:r>
              <a:rPr lang="nb-NO" sz="1200" err="1"/>
              <a:t>Stip</a:t>
            </a:r>
            <a:r>
              <a:rPr lang="nb-NO" sz="1200"/>
              <a:t>. R. Knutsen</a:t>
            </a:r>
          </a:p>
        </p:txBody>
      </p:sp>
      <p:sp>
        <p:nvSpPr>
          <p:cNvPr id="67" name="TekstSylinder 66">
            <a:extLst>
              <a:ext uri="{FF2B5EF4-FFF2-40B4-BE49-F238E27FC236}">
                <a16:creationId xmlns:a16="http://schemas.microsoft.com/office/drawing/2014/main" id="{64CFB0FE-4E40-498C-8970-ECE93AE72213}"/>
              </a:ext>
            </a:extLst>
          </p:cNvPr>
          <p:cNvSpPr txBox="1"/>
          <p:nvPr/>
        </p:nvSpPr>
        <p:spPr>
          <a:xfrm>
            <a:off x="6823212" y="4142062"/>
            <a:ext cx="186540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SO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2732CD35-E062-4318-B3CA-D23D67EE5DF4}"/>
              </a:ext>
            </a:extLst>
          </p:cNvPr>
          <p:cNvSpPr txBox="1"/>
          <p:nvPr/>
        </p:nvSpPr>
        <p:spPr>
          <a:xfrm>
            <a:off x="6823237" y="3372631"/>
            <a:ext cx="187806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Bevilgning fra KD</a:t>
            </a:r>
          </a:p>
        </p:txBody>
      </p:sp>
      <p:sp>
        <p:nvSpPr>
          <p:cNvPr id="71" name="TekstSylinder 70">
            <a:extLst>
              <a:ext uri="{FF2B5EF4-FFF2-40B4-BE49-F238E27FC236}">
                <a16:creationId xmlns:a16="http://schemas.microsoft.com/office/drawing/2014/main" id="{F25CEE0C-3252-4AEC-ADDE-ECCF9C36488C}"/>
              </a:ext>
            </a:extLst>
          </p:cNvPr>
          <p:cNvSpPr txBox="1"/>
          <p:nvPr/>
        </p:nvSpPr>
        <p:spPr>
          <a:xfrm>
            <a:off x="6816882" y="2614669"/>
            <a:ext cx="187806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Frie </a:t>
            </a:r>
            <a:r>
              <a:rPr lang="nb-NO" sz="1200" err="1"/>
              <a:t>rekr.still</a:t>
            </a:r>
            <a:r>
              <a:rPr lang="nb-NO" sz="1200"/>
              <a:t>. tildelt 2021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9C2228B8-507D-48F5-9062-C4469F7313EF}"/>
              </a:ext>
            </a:extLst>
          </p:cNvPr>
          <p:cNvSpPr txBox="1"/>
          <p:nvPr/>
        </p:nvSpPr>
        <p:spPr>
          <a:xfrm>
            <a:off x="6816882" y="1879880"/>
            <a:ext cx="185948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</a:t>
            </a:r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DD3201CA-5EE3-4F3C-84A0-1BACC0F230E2}"/>
              </a:ext>
            </a:extLst>
          </p:cNvPr>
          <p:cNvSpPr txBox="1"/>
          <p:nvPr/>
        </p:nvSpPr>
        <p:spPr>
          <a:xfrm>
            <a:off x="288422" y="1032376"/>
            <a:ext cx="1881036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 RD</a:t>
            </a:r>
          </a:p>
        </p:txBody>
      </p:sp>
      <p:sp>
        <p:nvSpPr>
          <p:cNvPr id="81" name="TekstSylinder 80">
            <a:extLst>
              <a:ext uri="{FF2B5EF4-FFF2-40B4-BE49-F238E27FC236}">
                <a16:creationId xmlns:a16="http://schemas.microsoft.com/office/drawing/2014/main" id="{F555F397-573B-440F-A587-9E2A9B466F3E}"/>
              </a:ext>
            </a:extLst>
          </p:cNvPr>
          <p:cNvSpPr txBox="1"/>
          <p:nvPr/>
        </p:nvSpPr>
        <p:spPr>
          <a:xfrm>
            <a:off x="288421" y="1348189"/>
            <a:ext cx="1881037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 RSO</a:t>
            </a:r>
          </a:p>
        </p:txBody>
      </p:sp>
      <p:sp>
        <p:nvSpPr>
          <p:cNvPr id="55" name="TekstSylinder 54">
            <a:extLst>
              <a:ext uri="{FF2B5EF4-FFF2-40B4-BE49-F238E27FC236}">
                <a16:creationId xmlns:a16="http://schemas.microsoft.com/office/drawing/2014/main" id="{CBB806B4-9453-4EF6-9D7E-0BED2DC5230D}"/>
              </a:ext>
            </a:extLst>
          </p:cNvPr>
          <p:cNvSpPr txBox="1"/>
          <p:nvPr/>
        </p:nvSpPr>
        <p:spPr>
          <a:xfrm>
            <a:off x="6811324" y="2309083"/>
            <a:ext cx="1878060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Rekrutteringsstillinger</a:t>
            </a:r>
          </a:p>
        </p:txBody>
      </p:sp>
      <p:sp>
        <p:nvSpPr>
          <p:cNvPr id="82" name="TekstSylinder 81">
            <a:extLst>
              <a:ext uri="{FF2B5EF4-FFF2-40B4-BE49-F238E27FC236}">
                <a16:creationId xmlns:a16="http://schemas.microsoft.com/office/drawing/2014/main" id="{91024977-F6CD-469E-8AED-FB67F0E57EFF}"/>
              </a:ext>
            </a:extLst>
          </p:cNvPr>
          <p:cNvSpPr txBox="1"/>
          <p:nvPr/>
        </p:nvSpPr>
        <p:spPr>
          <a:xfrm>
            <a:off x="11608326" y="462247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marL="0" marR="0" lvl="0" indent="0" algn="l" defTabSz="9141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</a:t>
            </a:r>
          </a:p>
        </p:txBody>
      </p:sp>
      <p:pic>
        <p:nvPicPr>
          <p:cNvPr id="52" name="Picture 3">
            <a:extLst>
              <a:ext uri="{FF2B5EF4-FFF2-40B4-BE49-F238E27FC236}">
                <a16:creationId xmlns:a16="http://schemas.microsoft.com/office/drawing/2014/main" id="{75CB95B1-2C2F-48A7-9B57-8D50FF470E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3522"/>
          <a:stretch/>
        </p:blipFill>
        <p:spPr>
          <a:xfrm rot="5400000">
            <a:off x="5647569" y="-5661504"/>
            <a:ext cx="896864" cy="12192002"/>
          </a:xfrm>
          <a:prstGeom prst="rect">
            <a:avLst/>
          </a:prstGeom>
        </p:spPr>
      </p:pic>
      <p:sp>
        <p:nvSpPr>
          <p:cNvPr id="53" name="Tittel 1">
            <a:extLst>
              <a:ext uri="{FF2B5EF4-FFF2-40B4-BE49-F238E27FC236}">
                <a16:creationId xmlns:a16="http://schemas.microsoft.com/office/drawing/2014/main" id="{FE7FE6CA-017D-479F-A32C-DCC2817760D3}"/>
              </a:ext>
            </a:extLst>
          </p:cNvPr>
          <p:cNvSpPr txBox="1">
            <a:spLocks/>
          </p:cNvSpPr>
          <p:nvPr/>
        </p:nvSpPr>
        <p:spPr>
          <a:xfrm>
            <a:off x="106523" y="32475"/>
            <a:ext cx="11140934" cy="9077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3200">
                <a:solidFill>
                  <a:schemeClr val="bg1"/>
                </a:solidFill>
              </a:rPr>
              <a:t>Eksempel på bruk av Aktivitet og Aktivitetstype</a:t>
            </a:r>
          </a:p>
          <a:p>
            <a:r>
              <a:rPr lang="nb-NO" sz="2400">
                <a:solidFill>
                  <a:schemeClr val="bg1"/>
                </a:solidFill>
              </a:rPr>
              <a:t>Rekrutteringsstillinger RD og RSO</a:t>
            </a:r>
            <a:endParaRPr lang="nb-NO" sz="1400">
              <a:solidFill>
                <a:schemeClr val="bg1"/>
              </a:solidFill>
            </a:endParaRPr>
          </a:p>
        </p:txBody>
      </p:sp>
      <p:sp>
        <p:nvSpPr>
          <p:cNvPr id="58" name="Snakkeboble: rektangel med avrundede hjørner 57">
            <a:extLst>
              <a:ext uri="{FF2B5EF4-FFF2-40B4-BE49-F238E27FC236}">
                <a16:creationId xmlns:a16="http://schemas.microsoft.com/office/drawing/2014/main" id="{1F89A5E7-779B-467F-9B49-A525516934C2}"/>
              </a:ext>
            </a:extLst>
          </p:cNvPr>
          <p:cNvSpPr/>
          <p:nvPr/>
        </p:nvSpPr>
        <p:spPr>
          <a:xfrm>
            <a:off x="254839" y="1973062"/>
            <a:ext cx="2700642" cy="1884032"/>
          </a:xfrm>
          <a:prstGeom prst="wedgeRoundRectCallout">
            <a:avLst>
              <a:gd name="adj1" fmla="val 22103"/>
              <a:gd name="adj2" fmla="val 49857"/>
              <a:gd name="adj3" fmla="val 16667"/>
            </a:avLst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nb-NO" sz="1050" b="1"/>
              <a:t>Anbefaling:</a:t>
            </a:r>
          </a:p>
          <a:p>
            <a:r>
              <a:rPr lang="nb-NO" sz="1050"/>
              <a:t>Unngå å benytte prosjektstrukturen til informasjon som finnes i andre deler av økonomimodelle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/>
              <a:t>Ikke benytt delprosjekt til informasjon som ligger f.eks. i konto og k-s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050"/>
              <a:t>Ikke benytt prosjekt til gruppering av delprosjekt når tilsvarende gruppering ligger i aktivitetstype/aktivitet</a:t>
            </a:r>
          </a:p>
        </p:txBody>
      </p:sp>
      <p:sp>
        <p:nvSpPr>
          <p:cNvPr id="63" name="TekstSylinder 62">
            <a:extLst>
              <a:ext uri="{FF2B5EF4-FFF2-40B4-BE49-F238E27FC236}">
                <a16:creationId xmlns:a16="http://schemas.microsoft.com/office/drawing/2014/main" id="{0EECEB96-C92E-4902-9525-6FB37A8039E9}"/>
              </a:ext>
            </a:extLst>
          </p:cNvPr>
          <p:cNvSpPr txBox="1"/>
          <p:nvPr/>
        </p:nvSpPr>
        <p:spPr>
          <a:xfrm>
            <a:off x="6810218" y="4958189"/>
            <a:ext cx="2103193" cy="27699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300101 </a:t>
            </a:r>
            <a:r>
              <a:rPr lang="nb-NO" sz="1200" err="1"/>
              <a:t>Stip</a:t>
            </a:r>
            <a:r>
              <a:rPr lang="nb-NO" sz="1200"/>
              <a:t>. S. Iversen</a:t>
            </a:r>
          </a:p>
        </p:txBody>
      </p:sp>
      <p:sp>
        <p:nvSpPr>
          <p:cNvPr id="75" name="TekstSylinder 74">
            <a:extLst>
              <a:ext uri="{FF2B5EF4-FFF2-40B4-BE49-F238E27FC236}">
                <a16:creationId xmlns:a16="http://schemas.microsoft.com/office/drawing/2014/main" id="{8A0E0C2C-C06C-4845-8B9C-DB731080F258}"/>
              </a:ext>
            </a:extLst>
          </p:cNvPr>
          <p:cNvSpPr txBox="1"/>
          <p:nvPr/>
        </p:nvSpPr>
        <p:spPr>
          <a:xfrm>
            <a:off x="6810217" y="5556349"/>
            <a:ext cx="2091475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/>
              <a:t>100500101 </a:t>
            </a:r>
            <a:r>
              <a:rPr lang="nb-NO" sz="1200" err="1"/>
              <a:t>Stip</a:t>
            </a:r>
            <a:r>
              <a:rPr lang="nb-NO" sz="1200"/>
              <a:t>. T. Olsen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37551CFF-0451-46EB-9AF5-71802813B37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2185" y="3734569"/>
            <a:ext cx="6500350" cy="3000847"/>
          </a:xfrm>
          <a:prstGeom prst="rect">
            <a:avLst/>
          </a:prstGeom>
          <a:ln>
            <a:solidFill>
              <a:srgbClr val="62A0AA"/>
            </a:solidFill>
          </a:ln>
        </p:spPr>
      </p:pic>
      <p:sp>
        <p:nvSpPr>
          <p:cNvPr id="10" name="Rektangel 9">
            <a:extLst>
              <a:ext uri="{FF2B5EF4-FFF2-40B4-BE49-F238E27FC236}">
                <a16:creationId xmlns:a16="http://schemas.microsoft.com/office/drawing/2014/main" id="{01DAC514-4931-4AA9-92C6-2C56A00F61E7}"/>
              </a:ext>
            </a:extLst>
          </p:cNvPr>
          <p:cNvSpPr/>
          <p:nvPr/>
        </p:nvSpPr>
        <p:spPr>
          <a:xfrm>
            <a:off x="6422923" y="5235188"/>
            <a:ext cx="1939965" cy="1435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1258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4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3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7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3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0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4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4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4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4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4" presetClass="emp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1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animClr clrSpc="hsl" dir="cw">
                                      <p:cBhvr>
                                        <p:cTn id="82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-12549" l="-25098"/>
                                      </p:by>
                                    </p:animClr>
                                    <p:set>
                                      <p:cBhvr>
                                        <p:cTn id="8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30" presetClass="emp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hsl" dir="cw">
                                      <p:cBhvr override="childStyle">
                                        <p:cTn id="87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8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animClr clrSpc="hsl" dir="cw">
                                      <p:cBhvr>
                                        <p:cTn id="89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0" s="12549" l="25098"/>
                                      </p:by>
                                    </p:animClr>
                                    <p:set>
                                      <p:cBhvr>
                                        <p:cTn id="90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7" grpId="0" animBg="1"/>
      <p:bldP spid="60" grpId="0" animBg="1"/>
      <p:bldP spid="62" grpId="0" animBg="1"/>
      <p:bldP spid="65" grpId="0" animBg="1"/>
      <p:bldP spid="67" grpId="0" animBg="1"/>
      <p:bldP spid="68" grpId="0" animBg="1"/>
      <p:bldP spid="71" grpId="0" animBg="1"/>
      <p:bldP spid="72" grpId="0" animBg="1"/>
      <p:bldP spid="72" grpId="1" animBg="1"/>
      <p:bldP spid="72" grpId="2" animBg="1"/>
      <p:bldP spid="80" grpId="0" animBg="1"/>
      <p:bldP spid="81" grpId="0" animBg="1"/>
      <p:bldP spid="55" grpId="0" animBg="1"/>
      <p:bldP spid="55" grpId="1" animBg="1"/>
      <p:bldP spid="55" grpId="2" animBg="1"/>
      <p:bldP spid="63" grpId="0" animBg="1"/>
      <p:bldP spid="75" grpId="0" animBg="1"/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18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22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4" y="819015"/>
            <a:ext cx="10395965" cy="1557994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: Økonomistyring BFV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377009"/>
            <a:ext cx="9710165" cy="3638660"/>
          </a:xfrm>
        </p:spPr>
        <p:txBody>
          <a:bodyPr anchor="t">
            <a:normAutofit lnSpcReduction="10000"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1: </a:t>
            </a:r>
            <a:r>
              <a:rPr lang="nb-NO" sz="2400" dirty="0">
                <a:solidFill>
                  <a:schemeClr val="bg1"/>
                </a:solidFill>
              </a:rPr>
              <a:t>Hvordan kan min enhet utnytte økonomimodellen i økonomistyringen av RD?</a:t>
            </a:r>
          </a:p>
          <a:p>
            <a:pPr lvl="1"/>
            <a:endParaRPr lang="nb-NO" sz="2000" dirty="0">
              <a:solidFill>
                <a:schemeClr val="bg1"/>
              </a:solidFill>
            </a:endParaRPr>
          </a:p>
          <a:p>
            <a:pPr marL="457200" lvl="1" indent="0">
              <a:buNone/>
            </a:pPr>
            <a:endParaRPr lang="nb-NO" sz="20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  <a:hlinkClick r:id="rId2"/>
              </a:rPr>
              <a:t>https://padlet.com/annetteyludvigsen/x33m0zmgx9jg0qsv</a:t>
            </a: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Felles diskusjon med oppsummering fra gruppene. </a:t>
            </a:r>
          </a:p>
        </p:txBody>
      </p:sp>
    </p:spTree>
    <p:extLst>
      <p:ext uri="{BB962C8B-B14F-4D97-AF65-F5344CB8AC3E}">
        <p14:creationId xmlns:p14="http://schemas.microsoft.com/office/powerpoint/2010/main" val="2819090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2FD9DD-E09D-4A7F-B5A8-E3B6C4DCB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rosjektstruktur BO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A9D0E-D8CD-4ADB-AE1E-26621D57C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kor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intro, med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kus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på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hvorda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nytte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ruktur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for BOA i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yringen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77055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Slide Background Fill">
            <a:extLst>
              <a:ext uri="{FF2B5EF4-FFF2-40B4-BE49-F238E27FC236}">
                <a16:creationId xmlns:a16="http://schemas.microsoft.com/office/drawing/2014/main" id="{44D65982-4F00-4330-8DAA-DE6A9E4D6D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olor Cover">
            <a:extLst>
              <a:ext uri="{FF2B5EF4-FFF2-40B4-BE49-F238E27FC236}">
                <a16:creationId xmlns:a16="http://schemas.microsoft.com/office/drawing/2014/main" id="{009115B9-5BFD-478D-9C87-29ADB3AF17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7" name="Group 11">
            <a:extLst>
              <a:ext uri="{FF2B5EF4-FFF2-40B4-BE49-F238E27FC236}">
                <a16:creationId xmlns:a16="http://schemas.microsoft.com/office/drawing/2014/main" id="{8D57F946-2E03-4DE1-91F8-25BEDC6635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-2"/>
            <a:ext cx="3468234" cy="6858000"/>
            <a:chOff x="651279" y="598259"/>
            <a:chExt cx="10889442" cy="5680742"/>
          </a:xfrm>
        </p:grpSpPr>
        <p:sp>
          <p:nvSpPr>
            <p:cNvPr id="28" name="Color">
              <a:extLst>
                <a:ext uri="{FF2B5EF4-FFF2-40B4-BE49-F238E27FC236}">
                  <a16:creationId xmlns:a16="http://schemas.microsoft.com/office/drawing/2014/main" id="{1598881B-E007-4AAF-BA50-0AD61821922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Color">
              <a:extLst>
                <a:ext uri="{FF2B5EF4-FFF2-40B4-BE49-F238E27FC236}">
                  <a16:creationId xmlns:a16="http://schemas.microsoft.com/office/drawing/2014/main" id="{87A6DD9E-16A5-46AE-A522-D46D6BEDF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31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3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4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5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6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7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F10A4442-2982-412C-938C-3A3874B98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pPr algn="ctr"/>
            <a:r>
              <a:rPr lang="nb-NO" sz="4800">
                <a:solidFill>
                  <a:schemeClr val="bg1"/>
                </a:solidFill>
              </a:rPr>
              <a:t>Prinsipp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F29247-4B8A-4D90-AA6C-EF618AF0B5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1068" y="841247"/>
            <a:ext cx="6877878" cy="5120640"/>
          </a:xfrm>
        </p:spPr>
        <p:txBody>
          <a:bodyPr anchor="ctr">
            <a:normAutofit/>
          </a:bodyPr>
          <a:lstStyle/>
          <a:p>
            <a:r>
              <a:rPr lang="nb-NO" sz="1800">
                <a:solidFill>
                  <a:schemeClr val="tx2"/>
                </a:solidFill>
              </a:rPr>
              <a:t>Anbefalingene gjelder alle BOA-prosjekter, men ved konvertering av eksisterende BOA-prosjekter kan det være historiske forhold som gjør det uhensiktsmessig å implementere disse anbefalingene </a:t>
            </a:r>
          </a:p>
          <a:p>
            <a:r>
              <a:rPr lang="nb-NO" sz="1800">
                <a:solidFill>
                  <a:schemeClr val="tx2"/>
                </a:solidFill>
              </a:rPr>
              <a:t>Fristilt ksted, med unntak:</a:t>
            </a:r>
          </a:p>
          <a:p>
            <a:pPr lvl="1"/>
            <a:r>
              <a:rPr lang="nb-NO" sz="1800">
                <a:solidFill>
                  <a:schemeClr val="tx2"/>
                </a:solidFill>
              </a:rPr>
              <a:t>Delprosjekter som har flere ksted som inngår anbefales det å lage egne delprosjekter. Dette kan avvikes ved avtale mellom enhetene</a:t>
            </a:r>
          </a:p>
          <a:p>
            <a:pPr lvl="2"/>
            <a:r>
              <a:rPr lang="nb-NO" sz="1800">
                <a:solidFill>
                  <a:schemeClr val="tx2"/>
                </a:solidFill>
              </a:rPr>
              <a:t>Fordrer lik egenfinansiering gjennom hele prosjektperioden</a:t>
            </a:r>
          </a:p>
        </p:txBody>
      </p:sp>
    </p:spTree>
    <p:extLst>
      <p:ext uri="{BB962C8B-B14F-4D97-AF65-F5344CB8AC3E}">
        <p14:creationId xmlns:p14="http://schemas.microsoft.com/office/powerpoint/2010/main" val="99237946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8E89894-4BF6-412C-A203-512295A86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8715" y="2975329"/>
            <a:ext cx="4964178" cy="37965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EF245B7-A231-484A-B7B5-D78DCB529F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AF4B4FE-BFDA-4D96-B9BE-9BA74BB9D08F}"/>
              </a:ext>
            </a:extLst>
          </p:cNvPr>
          <p:cNvSpPr txBox="1"/>
          <p:nvPr/>
        </p:nvSpPr>
        <p:spPr>
          <a:xfrm>
            <a:off x="5666581" y="21815"/>
            <a:ext cx="5588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000">
                <a:solidFill>
                  <a:schemeClr val="bg1"/>
                </a:solidFill>
              </a:rPr>
              <a:t>Prosjektstruktur BO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7A4E3E4-CF5F-405C-83D9-0CEE4CF6E6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0104" y="1360194"/>
            <a:ext cx="5696745" cy="4763165"/>
          </a:xfrm>
          <a:prstGeom prst="rect">
            <a:avLst/>
          </a:prstGeom>
        </p:spPr>
      </p:pic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A47177BC-4337-4642-B3C9-71EDE8031AD2}"/>
              </a:ext>
            </a:extLst>
          </p:cNvPr>
          <p:cNvSpPr txBox="1">
            <a:spLocks/>
          </p:cNvSpPr>
          <p:nvPr/>
        </p:nvSpPr>
        <p:spPr>
          <a:xfrm>
            <a:off x="6096000" y="1131016"/>
            <a:ext cx="5378300" cy="1595995"/>
          </a:xfrm>
          <a:prstGeom prst="rect">
            <a:avLst/>
          </a:prstGeom>
          <a:ln>
            <a:solidFill>
              <a:srgbClr val="33CCCC"/>
            </a:solidFill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/>
              <a:t>En felles modell/struktur, inkludert noen få  frihetsgrader. </a:t>
            </a:r>
          </a:p>
          <a:p>
            <a:r>
              <a:rPr lang="nb-NO" sz="1800"/>
              <a:t>Alle enheter må selv vurdere hva som er den beste organiseringen av sin økonomi for å styre på best mulig måte. </a:t>
            </a:r>
          </a:p>
        </p:txBody>
      </p:sp>
    </p:spTree>
    <p:extLst>
      <p:ext uri="{BB962C8B-B14F-4D97-AF65-F5344CB8AC3E}">
        <p14:creationId xmlns:p14="http://schemas.microsoft.com/office/powerpoint/2010/main" val="4173719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B174B9D2-782E-49A6-9854-6F8BD63BA6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1648" y="-5602795"/>
            <a:ext cx="1028701" cy="121920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FAC418D-4DE9-4BD9-ABCB-DF67B0C1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341" y="45022"/>
            <a:ext cx="10515600" cy="962535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 med 1 koststed og 1 finansiør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01E57F4-D249-4F33-B8A3-1D795FC9EB22}"/>
              </a:ext>
            </a:extLst>
          </p:cNvPr>
          <p:cNvGrpSpPr/>
          <p:nvPr/>
        </p:nvGrpSpPr>
        <p:grpSpPr>
          <a:xfrm>
            <a:off x="2321709" y="1464469"/>
            <a:ext cx="5419474" cy="4557355"/>
            <a:chOff x="2992852" y="1428693"/>
            <a:chExt cx="5612735" cy="459313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1698D64-E1FD-4D3C-9235-2FC8F97529DB}"/>
                </a:ext>
              </a:extLst>
            </p:cNvPr>
            <p:cNvSpPr/>
            <p:nvPr/>
          </p:nvSpPr>
          <p:spPr>
            <a:xfrm>
              <a:off x="4746458" y="2640938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Prosjekt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14C6391-9935-4820-9F99-CE3D36EE4474}"/>
                </a:ext>
              </a:extLst>
            </p:cNvPr>
            <p:cNvSpPr/>
            <p:nvPr/>
          </p:nvSpPr>
          <p:spPr>
            <a:xfrm>
              <a:off x="4746458" y="3976192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elprosjekt</a:t>
              </a:r>
            </a:p>
            <a:p>
              <a:pPr algn="ctr"/>
              <a:r>
                <a:rPr lang="nb-NO" err="1"/>
                <a:t>Finansiør</a:t>
              </a:r>
              <a:r>
                <a:rPr lang="nb-NO"/>
                <a:t> 1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22C0CD1-70D4-4E0D-8992-79CBA5307432}"/>
                </a:ext>
              </a:extLst>
            </p:cNvPr>
            <p:cNvCxnSpPr>
              <a:stCxn id="5" idx="2"/>
              <a:endCxn id="6" idx="0"/>
            </p:cNvCxnSpPr>
            <p:nvPr/>
          </p:nvCxnSpPr>
          <p:spPr>
            <a:xfrm>
              <a:off x="5546558" y="3422991"/>
              <a:ext cx="0" cy="5532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ktangel 21">
              <a:extLst>
                <a:ext uri="{FF2B5EF4-FFF2-40B4-BE49-F238E27FC236}">
                  <a16:creationId xmlns:a16="http://schemas.microsoft.com/office/drawing/2014/main" id="{BFDA6270-9206-4938-B1AC-847AA1A85C45}"/>
                </a:ext>
              </a:extLst>
            </p:cNvPr>
            <p:cNvSpPr/>
            <p:nvPr/>
          </p:nvSpPr>
          <p:spPr>
            <a:xfrm>
              <a:off x="4634159" y="2569436"/>
              <a:ext cx="1834816" cy="2273969"/>
            </a:xfrm>
            <a:prstGeom prst="rect">
              <a:avLst/>
            </a:prstGeom>
            <a:solidFill>
              <a:schemeClr val="bg1">
                <a:lumMod val="85000"/>
                <a:alpha val="34000"/>
              </a:schemeClr>
            </a:solidFill>
            <a:ln w="190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867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FFB50F82-3726-4BB8-BB32-B0D0DCB8FAEF}"/>
                </a:ext>
              </a:extLst>
            </p:cNvPr>
            <p:cNvSpPr/>
            <p:nvPr/>
          </p:nvSpPr>
          <p:spPr>
            <a:xfrm>
              <a:off x="4746458" y="1428693"/>
              <a:ext cx="1600200" cy="7820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Hovedprosjekt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EBC8B88-88E3-45E7-8E7E-5759BFD59981}"/>
                </a:ext>
              </a:extLst>
            </p:cNvPr>
            <p:cNvSpPr/>
            <p:nvPr/>
          </p:nvSpPr>
          <p:spPr>
            <a:xfrm>
              <a:off x="2992852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1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17E6135-A2BD-4B4B-B0DA-A2A7965697D1}"/>
                </a:ext>
              </a:extLst>
            </p:cNvPr>
            <p:cNvSpPr/>
            <p:nvPr/>
          </p:nvSpPr>
          <p:spPr>
            <a:xfrm>
              <a:off x="4607089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392924-7F77-45BE-A2FC-6F4A894689AB}"/>
                </a:ext>
              </a:extLst>
            </p:cNvPr>
            <p:cNvSpPr/>
            <p:nvPr/>
          </p:nvSpPr>
          <p:spPr>
            <a:xfrm>
              <a:off x="6110034" y="5570805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3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AC3FBD6-FAE4-4D8B-A3AB-C630098FBF3C}"/>
                </a:ext>
              </a:extLst>
            </p:cNvPr>
            <p:cNvSpPr/>
            <p:nvPr/>
          </p:nvSpPr>
          <p:spPr>
            <a:xfrm>
              <a:off x="7534775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n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10F898B-ECD6-4ADA-83BD-4BBB642ACDA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89152" y="5234432"/>
              <a:ext cx="4701339" cy="4027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CB0D79C-9FE4-49F2-A71D-3ECA4BB084E8}"/>
                </a:ext>
              </a:extLst>
            </p:cNvPr>
            <p:cNvCxnSpPr>
              <a:cxnSpLocks/>
              <a:stCxn id="6" idx="2"/>
            </p:cNvCxnSpPr>
            <p:nvPr/>
          </p:nvCxnSpPr>
          <p:spPr>
            <a:xfrm flipH="1">
              <a:off x="5539540" y="4758245"/>
              <a:ext cx="7018" cy="476187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12E96405-13D3-45A1-BFB4-D9E93DB33E43}"/>
                </a:ext>
              </a:extLst>
            </p:cNvPr>
            <p:cNvCxnSpPr>
              <a:cxnSpLocks/>
            </p:cNvCxnSpPr>
            <p:nvPr/>
          </p:nvCxnSpPr>
          <p:spPr>
            <a:xfrm>
              <a:off x="3528258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351F4EE-2069-4127-9FDD-6FEF6D25B417}"/>
                </a:ext>
              </a:extLst>
            </p:cNvPr>
            <p:cNvCxnSpPr>
              <a:cxnSpLocks/>
            </p:cNvCxnSpPr>
            <p:nvPr/>
          </p:nvCxnSpPr>
          <p:spPr>
            <a:xfrm>
              <a:off x="6650451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B0D0EAC-22C3-42BF-87A9-CCA50C193782}"/>
                </a:ext>
              </a:extLst>
            </p:cNvPr>
            <p:cNvCxnSpPr>
              <a:cxnSpLocks/>
            </p:cNvCxnSpPr>
            <p:nvPr/>
          </p:nvCxnSpPr>
          <p:spPr>
            <a:xfrm>
              <a:off x="5149511" y="523443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2EDD28CD-1A36-492A-ABD9-1FFB9B3FDC5E}"/>
                </a:ext>
              </a:extLst>
            </p:cNvPr>
            <p:cNvCxnSpPr>
              <a:cxnSpLocks/>
            </p:cNvCxnSpPr>
            <p:nvPr/>
          </p:nvCxnSpPr>
          <p:spPr>
            <a:xfrm>
              <a:off x="8190491" y="5252872"/>
              <a:ext cx="0" cy="336280"/>
            </a:xfrm>
            <a:prstGeom prst="line">
              <a:avLst/>
            </a:prstGeom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A2216863-0DA2-418C-A787-7D353424EC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515471" y="2200770"/>
              <a:ext cx="7018" cy="47618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D5C3B9E-01FC-4BCC-A961-5DB1308018AB}"/>
                </a:ext>
              </a:extLst>
            </p:cNvPr>
            <p:cNvSpPr txBox="1"/>
            <p:nvPr/>
          </p:nvSpPr>
          <p:spPr>
            <a:xfrm>
              <a:off x="6564221" y="2980708"/>
              <a:ext cx="492443" cy="1437766"/>
            </a:xfrm>
            <a:prstGeom prst="rect">
              <a:avLst/>
            </a:prstGeom>
            <a:noFill/>
          </p:spPr>
          <p:txBody>
            <a:bodyPr vert="vert" wrap="square" rtlCol="0">
              <a:spAutoFit/>
            </a:bodyPr>
            <a:lstStyle/>
            <a:p>
              <a:r>
                <a:rPr lang="nb-NO" sz="2000" b="1"/>
                <a:t>Obligatorisk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9F5B51F-7AB8-4FD7-AAC0-9D8A047A13A6}"/>
              </a:ext>
            </a:extLst>
          </p:cNvPr>
          <p:cNvSpPr txBox="1"/>
          <p:nvPr/>
        </p:nvSpPr>
        <p:spPr>
          <a:xfrm>
            <a:off x="280377" y="2908135"/>
            <a:ext cx="2735469" cy="105560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Prosjekt må benyttes per kontrakt/avtale</a:t>
            </a:r>
          </a:p>
          <a:p>
            <a:endParaRPr lang="nb-NO" sz="1400"/>
          </a:p>
          <a:p>
            <a:r>
              <a:rPr lang="nb-NO" sz="1400"/>
              <a:t>Alle må ha minst 1 delprosjekt.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BBF01E-2663-432E-A1DE-AFCF5BDF7C62}"/>
              </a:ext>
            </a:extLst>
          </p:cNvPr>
          <p:cNvSpPr txBox="1"/>
          <p:nvPr/>
        </p:nvSpPr>
        <p:spPr>
          <a:xfrm>
            <a:off x="8785057" y="1506173"/>
            <a:ext cx="3019498" cy="57888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Hovedprosjekt benyttes kun ved særskilte behov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D5C44E7-0620-40A1-86A4-A82DDC1CCAAC}"/>
              </a:ext>
            </a:extLst>
          </p:cNvPr>
          <p:cNvSpPr txBox="1"/>
          <p:nvPr/>
        </p:nvSpPr>
        <p:spPr>
          <a:xfrm>
            <a:off x="8785057" y="5240564"/>
            <a:ext cx="3019498" cy="81724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Arbeidspakke benyttes hvis det er aktuelt å rapportere eller styre på arbeidspakk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454F694-98CD-4367-A5EC-1B2E0688400C}"/>
              </a:ext>
            </a:extLst>
          </p:cNvPr>
          <p:cNvSpPr txBox="1"/>
          <p:nvPr/>
        </p:nvSpPr>
        <p:spPr>
          <a:xfrm>
            <a:off x="4014934" y="2831725"/>
            <a:ext cx="155921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7FFEFD5-0182-4BE0-AEE3-1CF5FD2271FA}"/>
              </a:ext>
            </a:extLst>
          </p:cNvPr>
          <p:cNvSpPr txBox="1"/>
          <p:nvPr/>
        </p:nvSpPr>
        <p:spPr>
          <a:xfrm>
            <a:off x="4014934" y="4056940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99FCF1D-4395-4A2B-B1B6-D52008632310}"/>
              </a:ext>
            </a:extLst>
          </p:cNvPr>
          <p:cNvSpPr txBox="1"/>
          <p:nvPr/>
        </p:nvSpPr>
        <p:spPr>
          <a:xfrm>
            <a:off x="2301786" y="5574225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</a:t>
            </a:r>
            <a:r>
              <a:rPr lang="nb-NO" sz="1100" err="1"/>
              <a:t>Algorithm</a:t>
            </a:r>
            <a:r>
              <a:rPr lang="nb-NO" sz="1100"/>
              <a:t> </a:t>
            </a:r>
            <a:r>
              <a:rPr lang="nb-NO" sz="1100" err="1"/>
              <a:t>development</a:t>
            </a:r>
            <a:endParaRPr lang="nb-NO" sz="110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6B3D67B-ADBC-4F3A-8531-37C24A648A64}"/>
              </a:ext>
            </a:extLst>
          </p:cNvPr>
          <p:cNvSpPr txBox="1"/>
          <p:nvPr/>
        </p:nvSpPr>
        <p:spPr>
          <a:xfrm>
            <a:off x="3888309" y="5574225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</a:t>
            </a:r>
            <a:r>
              <a:rPr lang="nb-NO" sz="1100" err="1"/>
              <a:t>validation</a:t>
            </a:r>
            <a:r>
              <a:rPr lang="nb-NO" sz="1100"/>
              <a:t> </a:t>
            </a:r>
            <a:r>
              <a:rPr lang="nb-NO" sz="1100" err="1"/>
              <a:t>of</a:t>
            </a:r>
            <a:r>
              <a:rPr lang="nb-NO" sz="1100"/>
              <a:t> digital </a:t>
            </a:r>
            <a:r>
              <a:rPr lang="nb-NO" sz="1100" err="1"/>
              <a:t>mobility</a:t>
            </a:r>
            <a:endParaRPr lang="nb-NO" sz="11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7D5B00C-58CD-464C-9319-5D088D35719D}"/>
              </a:ext>
            </a:extLst>
          </p:cNvPr>
          <p:cNvSpPr txBox="1"/>
          <p:nvPr/>
        </p:nvSpPr>
        <p:spPr>
          <a:xfrm>
            <a:off x="5332985" y="5552640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C28282E-0C09-4487-BDA8-70C939AA4431}"/>
              </a:ext>
            </a:extLst>
          </p:cNvPr>
          <p:cNvSpPr txBox="1"/>
          <p:nvPr/>
        </p:nvSpPr>
        <p:spPr>
          <a:xfrm>
            <a:off x="6704021" y="5566819"/>
            <a:ext cx="1066448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</a:t>
            </a:r>
            <a:r>
              <a:rPr lang="nb-NO" sz="1100" err="1"/>
              <a:t>analysis</a:t>
            </a:r>
            <a:endParaRPr lang="nb-NO" sz="110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7EF9023-27D2-4CB3-8496-F6695A2388C3}"/>
              </a:ext>
            </a:extLst>
          </p:cNvPr>
          <p:cNvSpPr txBox="1"/>
          <p:nvPr/>
        </p:nvSpPr>
        <p:spPr>
          <a:xfrm>
            <a:off x="4014934" y="1556449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mobility</a:t>
            </a:r>
            <a:endParaRPr lang="nb-NO"/>
          </a:p>
        </p:txBody>
      </p:sp>
      <p:sp>
        <p:nvSpPr>
          <p:cNvPr id="39" name="TekstSylinder 66">
            <a:extLst>
              <a:ext uri="{FF2B5EF4-FFF2-40B4-BE49-F238E27FC236}">
                <a16:creationId xmlns:a16="http://schemas.microsoft.com/office/drawing/2014/main" id="{CAD9FBD9-92FA-4E3E-BD64-AA7E2F371B4D}"/>
              </a:ext>
            </a:extLst>
          </p:cNvPr>
          <p:cNvSpPr txBox="1"/>
          <p:nvPr/>
        </p:nvSpPr>
        <p:spPr>
          <a:xfrm>
            <a:off x="5283561" y="4394562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40" name="TekstSylinder 66">
            <a:extLst>
              <a:ext uri="{FF2B5EF4-FFF2-40B4-BE49-F238E27FC236}">
                <a16:creationId xmlns:a16="http://schemas.microsoft.com/office/drawing/2014/main" id="{535819B4-7EF9-4342-82CA-0F84A661E194}"/>
              </a:ext>
            </a:extLst>
          </p:cNvPr>
          <p:cNvSpPr txBox="1"/>
          <p:nvPr/>
        </p:nvSpPr>
        <p:spPr>
          <a:xfrm>
            <a:off x="5283561" y="4702605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</p:spTree>
    <p:extLst>
      <p:ext uri="{BB962C8B-B14F-4D97-AF65-F5344CB8AC3E}">
        <p14:creationId xmlns:p14="http://schemas.microsoft.com/office/powerpoint/2010/main" val="3042079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2" grpId="0" animBg="1"/>
      <p:bldP spid="3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61F11443-189B-4375-9F26-0F4A3E97F0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57676" y="-5613589"/>
            <a:ext cx="1028701" cy="122399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C9B854-707F-4B3A-9F1C-618F99DC78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103"/>
            <a:ext cx="10515600" cy="999723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Prosjekt med 1 finansiør og flere kostste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96E1A8-C4A0-44F7-9C4C-5E211DB9F004}"/>
              </a:ext>
            </a:extLst>
          </p:cNvPr>
          <p:cNvSpPr txBox="1"/>
          <p:nvPr/>
        </p:nvSpPr>
        <p:spPr>
          <a:xfrm>
            <a:off x="170185" y="2225357"/>
            <a:ext cx="3209706" cy="248578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Fordrer lik egenfinansieringsprosent gjennom hele prosjekte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988E82-A4F0-4BB9-8DB6-F8285CBF231A}"/>
              </a:ext>
            </a:extLst>
          </p:cNvPr>
          <p:cNvGrpSpPr/>
          <p:nvPr/>
        </p:nvGrpSpPr>
        <p:grpSpPr>
          <a:xfrm>
            <a:off x="3522887" y="1462928"/>
            <a:ext cx="5419474" cy="4557355"/>
            <a:chOff x="2992852" y="1428693"/>
            <a:chExt cx="5612735" cy="459313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A858E4A6-D8FF-4210-B98B-D39B74417C13}"/>
                </a:ext>
              </a:extLst>
            </p:cNvPr>
            <p:cNvSpPr/>
            <p:nvPr/>
          </p:nvSpPr>
          <p:spPr>
            <a:xfrm>
              <a:off x="4746458" y="2640938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Prosjekt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BF763B-A1AB-4C3A-8235-E0FDC32D0DF8}"/>
                </a:ext>
              </a:extLst>
            </p:cNvPr>
            <p:cNvSpPr/>
            <p:nvPr/>
          </p:nvSpPr>
          <p:spPr>
            <a:xfrm>
              <a:off x="3031208" y="3976192"/>
              <a:ext cx="1600200" cy="782053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Delprosjekt</a:t>
              </a:r>
            </a:p>
            <a:p>
              <a:pPr algn="ctr"/>
              <a:r>
                <a:rPr lang="nb-NO"/>
                <a:t>Ksted 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72DC8BC9-2891-4D5E-B211-0E07409663F5}"/>
                </a:ext>
              </a:extLst>
            </p:cNvPr>
            <p:cNvSpPr/>
            <p:nvPr/>
          </p:nvSpPr>
          <p:spPr>
            <a:xfrm>
              <a:off x="4746458" y="1428693"/>
              <a:ext cx="1600200" cy="78205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/>
                <a:t>Hovedprosjek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1CE0883-8A71-4D1A-99AB-B6A1C7D405FA}"/>
                </a:ext>
              </a:extLst>
            </p:cNvPr>
            <p:cNvSpPr/>
            <p:nvPr/>
          </p:nvSpPr>
          <p:spPr>
            <a:xfrm>
              <a:off x="2992852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1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180D6E2-B4B9-4681-953A-AF1970076952}"/>
                </a:ext>
              </a:extLst>
            </p:cNvPr>
            <p:cNvSpPr/>
            <p:nvPr/>
          </p:nvSpPr>
          <p:spPr>
            <a:xfrm>
              <a:off x="4607089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2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28D584E-E2BA-4859-B92A-EDFFEAB99FDE}"/>
                </a:ext>
              </a:extLst>
            </p:cNvPr>
            <p:cNvSpPr/>
            <p:nvPr/>
          </p:nvSpPr>
          <p:spPr>
            <a:xfrm>
              <a:off x="6110034" y="5570805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3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724BE17-2C2D-4B27-9B15-96B017932ECD}"/>
                </a:ext>
              </a:extLst>
            </p:cNvPr>
            <p:cNvSpPr/>
            <p:nvPr/>
          </p:nvSpPr>
          <p:spPr>
            <a:xfrm>
              <a:off x="7534775" y="5570713"/>
              <a:ext cx="1070812" cy="451020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400" err="1"/>
                <a:t>Arb.pakke</a:t>
              </a:r>
              <a:r>
                <a:rPr lang="nb-NO" sz="1400"/>
                <a:t> n</a:t>
              </a: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F26D80A9-7CDD-433B-AECA-AB9908AD2C80}"/>
              </a:ext>
            </a:extLst>
          </p:cNvPr>
          <p:cNvSpPr txBox="1"/>
          <p:nvPr/>
        </p:nvSpPr>
        <p:spPr>
          <a:xfrm>
            <a:off x="5232709" y="2854302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1732492-5C2D-444E-A60F-BD6E0616472C}"/>
              </a:ext>
            </a:extLst>
          </p:cNvPr>
          <p:cNvSpPr txBox="1"/>
          <p:nvPr/>
        </p:nvSpPr>
        <p:spPr>
          <a:xfrm>
            <a:off x="3559922" y="3844995"/>
            <a:ext cx="1559217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  <a:p>
            <a:pPr algn="ctr"/>
            <a:r>
              <a:rPr lang="nb-NO"/>
              <a:t>INB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BC36532-633F-4683-9ABF-2B606CFEA78F}"/>
              </a:ext>
            </a:extLst>
          </p:cNvPr>
          <p:cNvSpPr txBox="1"/>
          <p:nvPr/>
        </p:nvSpPr>
        <p:spPr>
          <a:xfrm>
            <a:off x="3491947" y="5596802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</a:t>
            </a:r>
            <a:r>
              <a:rPr lang="nb-NO" sz="1100" err="1"/>
              <a:t>Algorithm</a:t>
            </a:r>
            <a:r>
              <a:rPr lang="nb-NO" sz="1100"/>
              <a:t> </a:t>
            </a:r>
            <a:r>
              <a:rPr lang="nb-NO" sz="1100" err="1"/>
              <a:t>development</a:t>
            </a:r>
            <a:endParaRPr lang="nb-NO" sz="1100"/>
          </a:p>
          <a:p>
            <a:pPr algn="ctr"/>
            <a:endParaRPr lang="nb-NO" sz="11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E48BE06-CDDA-4E98-B626-8EBE12FBA29D}"/>
              </a:ext>
            </a:extLst>
          </p:cNvPr>
          <p:cNvSpPr txBox="1"/>
          <p:nvPr/>
        </p:nvSpPr>
        <p:spPr>
          <a:xfrm>
            <a:off x="5057375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</a:t>
            </a:r>
            <a:r>
              <a:rPr lang="nb-NO" sz="1100" err="1"/>
              <a:t>validation</a:t>
            </a:r>
            <a:r>
              <a:rPr lang="nb-NO" sz="1100"/>
              <a:t> </a:t>
            </a:r>
            <a:r>
              <a:rPr lang="nb-NO" sz="1100" err="1"/>
              <a:t>of</a:t>
            </a:r>
            <a:r>
              <a:rPr lang="nb-NO" sz="1100"/>
              <a:t> digital </a:t>
            </a:r>
            <a:r>
              <a:rPr lang="nb-NO" sz="1100" err="1"/>
              <a:t>mobility</a:t>
            </a:r>
            <a:endParaRPr lang="nb-NO" sz="11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99AFDAE-5230-4100-9433-301D0D51847A}"/>
              </a:ext>
            </a:extLst>
          </p:cNvPr>
          <p:cNvSpPr txBox="1"/>
          <p:nvPr/>
        </p:nvSpPr>
        <p:spPr>
          <a:xfrm>
            <a:off x="6532736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  <a:p>
            <a:pPr algn="ctr"/>
            <a:endParaRPr lang="nb-NO" sz="11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ECF8A9-325A-4A91-A81F-81D255C94A64}"/>
              </a:ext>
            </a:extLst>
          </p:cNvPr>
          <p:cNvSpPr txBox="1"/>
          <p:nvPr/>
        </p:nvSpPr>
        <p:spPr>
          <a:xfrm>
            <a:off x="7921796" y="5589396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</a:t>
            </a:r>
            <a:r>
              <a:rPr lang="nb-NO" sz="1100" err="1"/>
              <a:t>analysis</a:t>
            </a:r>
            <a:endParaRPr lang="nb-NO" sz="1100"/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D42B159-8C37-4083-933B-E571460E0567}"/>
              </a:ext>
            </a:extLst>
          </p:cNvPr>
          <p:cNvSpPr txBox="1"/>
          <p:nvPr/>
        </p:nvSpPr>
        <p:spPr>
          <a:xfrm>
            <a:off x="5232709" y="1579026"/>
            <a:ext cx="150718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mobility</a:t>
            </a:r>
            <a:endParaRPr lang="nb-NO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9751DBA-432E-4FC7-9425-13095621EC88}"/>
              </a:ext>
            </a:extLst>
          </p:cNvPr>
          <p:cNvSpPr/>
          <p:nvPr/>
        </p:nvSpPr>
        <p:spPr>
          <a:xfrm>
            <a:off x="6550760" y="3965460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Ksted 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6C8BC6E-EFA1-4AE3-B79A-D94CB734E5D0}"/>
              </a:ext>
            </a:extLst>
          </p:cNvPr>
          <p:cNvSpPr txBox="1"/>
          <p:nvPr/>
        </p:nvSpPr>
        <p:spPr>
          <a:xfrm>
            <a:off x="6543702" y="3812792"/>
            <a:ext cx="1559217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  <a:p>
            <a:pPr algn="ctr"/>
            <a:r>
              <a:rPr lang="nb-NO"/>
              <a:t>ISB</a:t>
            </a:r>
          </a:p>
        </p:txBody>
      </p:sp>
      <p:sp>
        <p:nvSpPr>
          <p:cNvPr id="54" name="TekstSylinder 66">
            <a:extLst>
              <a:ext uri="{FF2B5EF4-FFF2-40B4-BE49-F238E27FC236}">
                <a16:creationId xmlns:a16="http://schemas.microsoft.com/office/drawing/2014/main" id="{A26A1403-FD8D-4607-BA43-CF0180084C17}"/>
              </a:ext>
            </a:extLst>
          </p:cNvPr>
          <p:cNvSpPr txBox="1"/>
          <p:nvPr/>
        </p:nvSpPr>
        <p:spPr>
          <a:xfrm>
            <a:off x="7921796" y="4263148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55" name="TekstSylinder 66">
            <a:extLst>
              <a:ext uri="{FF2B5EF4-FFF2-40B4-BE49-F238E27FC236}">
                <a16:creationId xmlns:a16="http://schemas.microsoft.com/office/drawing/2014/main" id="{072A4EA7-EE51-47B5-BD5D-DD16A4F0729F}"/>
              </a:ext>
            </a:extLst>
          </p:cNvPr>
          <p:cNvSpPr txBox="1"/>
          <p:nvPr/>
        </p:nvSpPr>
        <p:spPr>
          <a:xfrm>
            <a:off x="7921796" y="4571191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56" name="TekstSylinder 66">
            <a:extLst>
              <a:ext uri="{FF2B5EF4-FFF2-40B4-BE49-F238E27FC236}">
                <a16:creationId xmlns:a16="http://schemas.microsoft.com/office/drawing/2014/main" id="{7779429F-313C-4507-B1AA-7DC8BD0E0C53}"/>
              </a:ext>
            </a:extLst>
          </p:cNvPr>
          <p:cNvSpPr txBox="1"/>
          <p:nvPr/>
        </p:nvSpPr>
        <p:spPr>
          <a:xfrm>
            <a:off x="4652795" y="4329743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57" name="TekstSylinder 66">
            <a:extLst>
              <a:ext uri="{FF2B5EF4-FFF2-40B4-BE49-F238E27FC236}">
                <a16:creationId xmlns:a16="http://schemas.microsoft.com/office/drawing/2014/main" id="{75CE720A-2E21-4026-8CCB-E396D7155859}"/>
              </a:ext>
            </a:extLst>
          </p:cNvPr>
          <p:cNvSpPr txBox="1"/>
          <p:nvPr/>
        </p:nvSpPr>
        <p:spPr>
          <a:xfrm>
            <a:off x="4642276" y="4622736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EE06053-E957-42C7-94E9-56F76DE878BF}"/>
              </a:ext>
            </a:extLst>
          </p:cNvPr>
          <p:cNvSpPr txBox="1"/>
          <p:nvPr/>
        </p:nvSpPr>
        <p:spPr>
          <a:xfrm>
            <a:off x="170186" y="4862624"/>
            <a:ext cx="3149582" cy="817245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Fordel: </a:t>
            </a:r>
            <a:r>
              <a:rPr lang="nb-NO" sz="1400"/>
              <a:t>Muliggjør ulik egenfinansiering</a:t>
            </a:r>
            <a:endParaRPr lang="nb-NO" sz="1400" b="1"/>
          </a:p>
          <a:p>
            <a:r>
              <a:rPr lang="nb-NO" sz="1400" b="1"/>
              <a:t>Ulempe: </a:t>
            </a:r>
            <a:r>
              <a:rPr lang="nb-NO" sz="1400"/>
              <a:t>økt ressursbruk, da man har flere delprosjekter å forholde seg til. </a:t>
            </a:r>
          </a:p>
        </p:txBody>
      </p: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4B5BCFB8-B556-4B2A-B814-AE8DC700527C}"/>
              </a:ext>
            </a:extLst>
          </p:cNvPr>
          <p:cNvCxnSpPr>
            <a:stCxn id="32" idx="2"/>
            <a:endCxn id="6" idx="0"/>
          </p:cNvCxnSpPr>
          <p:nvPr/>
        </p:nvCxnSpPr>
        <p:spPr>
          <a:xfrm rot="16200000" flipH="1">
            <a:off x="5767296" y="2444364"/>
            <a:ext cx="440374" cy="2360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6B6314F-AD5F-43D2-8837-2108C59C5495}"/>
              </a:ext>
            </a:extLst>
          </p:cNvPr>
          <p:cNvCxnSpPr>
            <a:cxnSpLocks/>
            <a:stCxn id="6" idx="2"/>
            <a:endCxn id="27" idx="0"/>
          </p:cNvCxnSpPr>
          <p:nvPr/>
        </p:nvCxnSpPr>
        <p:spPr>
          <a:xfrm rot="5400000">
            <a:off x="4962446" y="2818777"/>
            <a:ext cx="403303" cy="1649132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3A8A687D-ACA6-4B06-86DB-F0AD71C1E5C1}"/>
              </a:ext>
            </a:extLst>
          </p:cNvPr>
          <p:cNvCxnSpPr>
            <a:cxnSpLocks/>
            <a:stCxn id="6" idx="2"/>
            <a:endCxn id="37" idx="0"/>
          </p:cNvCxnSpPr>
          <p:nvPr/>
        </p:nvCxnSpPr>
        <p:spPr>
          <a:xfrm rot="16200000" flipH="1">
            <a:off x="6470437" y="2959918"/>
            <a:ext cx="371100" cy="133464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74E09725-DA84-4710-9F29-5E968A64EE0A}"/>
              </a:ext>
            </a:extLst>
          </p:cNvPr>
          <p:cNvCxnSpPr>
            <a:cxnSpLocks/>
            <a:stCxn id="27" idx="2"/>
            <a:endCxn id="28" idx="0"/>
          </p:cNvCxnSpPr>
          <p:nvPr/>
        </p:nvCxnSpPr>
        <p:spPr>
          <a:xfrm rot="5400000">
            <a:off x="3768113" y="5025383"/>
            <a:ext cx="828477" cy="31436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CC7A3CF6-DCFD-4AD0-9F8D-07C72BB364C2}"/>
              </a:ext>
            </a:extLst>
          </p:cNvPr>
          <p:cNvCxnSpPr>
            <a:cxnSpLocks/>
            <a:stCxn id="27" idx="2"/>
            <a:endCxn id="29" idx="0"/>
          </p:cNvCxnSpPr>
          <p:nvPr/>
        </p:nvCxnSpPr>
        <p:spPr>
          <a:xfrm rot="16200000" flipH="1">
            <a:off x="4562886" y="4544970"/>
            <a:ext cx="804359" cy="1251068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7D633726-9DD5-45C0-B6AE-332AB22176CC}"/>
              </a:ext>
            </a:extLst>
          </p:cNvPr>
          <p:cNvCxnSpPr>
            <a:cxnSpLocks/>
            <a:stCxn id="27" idx="2"/>
            <a:endCxn id="30" idx="0"/>
          </p:cNvCxnSpPr>
          <p:nvPr/>
        </p:nvCxnSpPr>
        <p:spPr>
          <a:xfrm rot="16200000" flipH="1">
            <a:off x="5300566" y="3807289"/>
            <a:ext cx="804359" cy="2726429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65C25716-C4CE-485D-8A33-AD6A92BAD5E7}"/>
              </a:ext>
            </a:extLst>
          </p:cNvPr>
          <p:cNvCxnSpPr>
            <a:cxnSpLocks/>
            <a:stCxn id="27" idx="2"/>
            <a:endCxn id="16" idx="0"/>
          </p:cNvCxnSpPr>
          <p:nvPr/>
        </p:nvCxnSpPr>
        <p:spPr>
          <a:xfrm rot="16200000" flipH="1">
            <a:off x="5980281" y="3127575"/>
            <a:ext cx="804360" cy="408586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62D7C564-FECB-4CCE-A5C8-A9213D9DEAE2}"/>
              </a:ext>
            </a:extLst>
          </p:cNvPr>
          <p:cNvCxnSpPr>
            <a:cxnSpLocks/>
            <a:stCxn id="37" idx="2"/>
            <a:endCxn id="30" idx="3"/>
          </p:cNvCxnSpPr>
          <p:nvPr/>
        </p:nvCxnSpPr>
        <p:spPr>
          <a:xfrm rot="16200000" flipH="1">
            <a:off x="6850606" y="5208826"/>
            <a:ext cx="1221283" cy="275873"/>
          </a:xfrm>
          <a:prstGeom prst="bentConnector4">
            <a:avLst>
              <a:gd name="adj1" fmla="val 21290"/>
              <a:gd name="adj2" fmla="val 158300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682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7" grpId="0" animBg="1"/>
      <p:bldP spid="54" grpId="0" animBg="1"/>
      <p:bldP spid="55" grpId="0" animBg="1"/>
      <p:bldP spid="56" grpId="0" animBg="1"/>
      <p:bldP spid="57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A175037-6B6D-4301-8909-D3BF0C2DDA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9178" y="2818524"/>
            <a:ext cx="10934700" cy="368281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433E10-3A9A-40AB-86BB-89DE55E10370}"/>
              </a:ext>
            </a:extLst>
          </p:cNvPr>
          <p:cNvSpPr txBox="1"/>
          <p:nvPr/>
        </p:nvSpPr>
        <p:spPr>
          <a:xfrm>
            <a:off x="8902863" y="1047826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0EFB21-504F-4EA1-94FF-35FBED987C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4" y="-5575413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C970A5-0E0C-4700-B55D-DF325A7B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047826"/>
          </a:xfrm>
        </p:spPr>
        <p:txBody>
          <a:bodyPr>
            <a:normAutofit fontScale="90000"/>
          </a:bodyPr>
          <a:lstStyle/>
          <a:p>
            <a:r>
              <a:rPr lang="nb-NO">
                <a:solidFill>
                  <a:schemeClr val="bg1"/>
                </a:solidFill>
              </a:rPr>
              <a:t>Muliggjør et aktivt valg av egenfinansieringsandel</a:t>
            </a:r>
          </a:p>
        </p:txBody>
      </p:sp>
    </p:spTree>
    <p:extLst>
      <p:ext uri="{BB962C8B-B14F-4D97-AF65-F5344CB8AC3E}">
        <p14:creationId xmlns:p14="http://schemas.microsoft.com/office/powerpoint/2010/main" val="13554500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022BDE4A-8A20-4A69-9C5A-581C82036A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2FD38EA9-A624-4221-9AF6-31E74D581A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696" r="-2" b="119"/>
          <a:stretch/>
        </p:blipFill>
        <p:spPr>
          <a:xfrm>
            <a:off x="198744" y="2054578"/>
            <a:ext cx="5803323" cy="424622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99AD4B3-1C34-4A4B-90D0-DBB9946C9A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pic>
        <p:nvPicPr>
          <p:cNvPr id="6" name="Picture 5" descr="Chart, bar chart, histogram&#10;&#10;Description automatically generated">
            <a:extLst>
              <a:ext uri="{FF2B5EF4-FFF2-40B4-BE49-F238E27FC236}">
                <a16:creationId xmlns:a16="http://schemas.microsoft.com/office/drawing/2014/main" id="{BD02EBE7-9F80-45F2-8758-B1D543CEB8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-164" r="-2" b="1268"/>
          <a:stretch/>
        </p:blipFill>
        <p:spPr>
          <a:xfrm>
            <a:off x="6200812" y="2054579"/>
            <a:ext cx="5803323" cy="4031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F7503DD-50AC-429F-A2D0-88926A4AC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1289"/>
            <a:ext cx="12202880" cy="903112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nb-NO">
                <a:solidFill>
                  <a:schemeClr val="bg1"/>
                </a:solidFill>
              </a:rPr>
              <a:t>Muliggjør et aktivt valg av egenfinansieringsandel</a:t>
            </a:r>
            <a:endParaRPr lang="en-US" sz="4000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02C3C2E-800A-4DFE-BF47-39F76211F9FB}"/>
              </a:ext>
            </a:extLst>
          </p:cNvPr>
          <p:cNvSpPr txBox="1"/>
          <p:nvPr/>
        </p:nvSpPr>
        <p:spPr>
          <a:xfrm>
            <a:off x="8993174" y="1069822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</p:spTree>
    <p:extLst>
      <p:ext uri="{BB962C8B-B14F-4D97-AF65-F5344CB8AC3E}">
        <p14:creationId xmlns:p14="http://schemas.microsoft.com/office/powerpoint/2010/main" val="9096922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660AA00-1D6A-47EB-86A3-7ABAA0B8D5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1400879" y="-1407532"/>
            <a:ext cx="1830643" cy="464570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37D9B7-D16B-48B1-952E-13DD9261B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931" y="104160"/>
            <a:ext cx="3505495" cy="1622321"/>
          </a:xfrm>
        </p:spPr>
        <p:txBody>
          <a:bodyPr>
            <a:normAutofit/>
          </a:bodyPr>
          <a:lstStyle/>
          <a:p>
            <a:r>
              <a:rPr lang="nb-NO" sz="4000">
                <a:solidFill>
                  <a:schemeClr val="bg1"/>
                </a:solidFill>
              </a:rPr>
              <a:t>BEVISST i BOT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B4C116-34D3-4F0C-8B13-57503C71E0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931" y="2438400"/>
            <a:ext cx="3505494" cy="3785419"/>
          </a:xfrm>
        </p:spPr>
        <p:txBody>
          <a:bodyPr>
            <a:normAutofit/>
          </a:bodyPr>
          <a:lstStyle/>
          <a:p>
            <a:r>
              <a:rPr lang="nb-NO" sz="2000"/>
              <a:t>BEVISST er fortsatt NTNUs virksomhetsstyringssystem</a:t>
            </a:r>
          </a:p>
          <a:p>
            <a:r>
              <a:rPr lang="nb-NO" sz="2000"/>
              <a:t>Nye kildesystemer</a:t>
            </a:r>
          </a:p>
        </p:txBody>
      </p:sp>
      <p:sp>
        <p:nvSpPr>
          <p:cNvPr id="32" name="Rectangle 10">
            <a:extLst>
              <a:ext uri="{FF2B5EF4-FFF2-40B4-BE49-F238E27FC236}">
                <a16:creationId xmlns:a16="http://schemas.microsoft.com/office/drawing/2014/main" id="{5E39A796-BE83-48B1-B33F-35C4A32AAB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639056" y="0"/>
            <a:ext cx="7552944" cy="6858000"/>
          </a:xfrm>
          <a:prstGeom prst="rect">
            <a:avLst/>
          </a:prstGeom>
          <a:solidFill>
            <a:srgbClr val="C8C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ounded Rectangle 9">
            <a:extLst>
              <a:ext uri="{FF2B5EF4-FFF2-40B4-BE49-F238E27FC236}">
                <a16:creationId xmlns:a16="http://schemas.microsoft.com/office/drawing/2014/main" id="{72F84B47-E267-4194-8194-831DB7B554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123688" y="557784"/>
            <a:ext cx="6584098" cy="57391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41E488E-E58E-4A15-A549-62C1B129C2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5862" y="1034693"/>
            <a:ext cx="6019331" cy="4785368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065692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222E02-D773-4C85-8074-EC7B98421E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831" y="1652955"/>
            <a:ext cx="7874977" cy="482035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1F334A3-1DD3-4F55-937E-3F952BFBB55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7D3974-7AC0-4904-AA68-D524A9B69F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"/>
            <a:ext cx="12198651" cy="1028702"/>
          </a:xfrm>
        </p:spPr>
        <p:txBody>
          <a:bodyPr>
            <a:normAutofit/>
          </a:bodyPr>
          <a:lstStyle/>
          <a:p>
            <a:r>
              <a:rPr lang="nb-NO">
                <a:solidFill>
                  <a:schemeClr val="bg1"/>
                </a:solidFill>
              </a:rPr>
              <a:t>Endringer i prosjektet </a:t>
            </a:r>
            <a:r>
              <a:rPr lang="nb-NO">
                <a:solidFill>
                  <a:schemeClr val="bg1"/>
                </a:solidFill>
                <a:sym typeface="Wingdings" panose="05000000000000000000" pitchFamily="2" charset="2"/>
              </a:rPr>
              <a:t>&amp; konsekvenser for samspill</a:t>
            </a:r>
            <a:endParaRPr lang="nb-NO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E83693-BCDB-40FE-AFC7-5A2877B52EE1}"/>
              </a:ext>
            </a:extLst>
          </p:cNvPr>
          <p:cNvSpPr txBox="1"/>
          <p:nvPr/>
        </p:nvSpPr>
        <p:spPr>
          <a:xfrm>
            <a:off x="8898878" y="1134210"/>
            <a:ext cx="3209706" cy="177069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Anbefaling: </a:t>
            </a:r>
            <a:r>
              <a:rPr lang="nb-NO" sz="1400"/>
              <a:t>Egne delprosjekter hvis flere ksted inngår i prosjekte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/>
              <a:t>Kan ha ulike egenfinansieringsprosenter per ksted</a:t>
            </a:r>
          </a:p>
          <a:p>
            <a:r>
              <a:rPr lang="nb-NO" sz="1400"/>
              <a:t>Dette kan avvikes ved avtale mellom enhetene.  </a:t>
            </a:r>
          </a:p>
        </p:txBody>
      </p:sp>
    </p:spTree>
    <p:extLst>
      <p:ext uri="{BB962C8B-B14F-4D97-AF65-F5344CB8AC3E}">
        <p14:creationId xmlns:p14="http://schemas.microsoft.com/office/powerpoint/2010/main" val="314456515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TextBox 54">
            <a:extLst>
              <a:ext uri="{FF2B5EF4-FFF2-40B4-BE49-F238E27FC236}">
                <a16:creationId xmlns:a16="http://schemas.microsoft.com/office/drawing/2014/main" id="{0BD00695-6E12-442A-9BC6-35FE81332914}"/>
              </a:ext>
            </a:extLst>
          </p:cNvPr>
          <p:cNvSpPr txBox="1"/>
          <p:nvPr/>
        </p:nvSpPr>
        <p:spPr>
          <a:xfrm>
            <a:off x="3458830" y="5587615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DAEA2DE-92C0-4658-AC06-5C3C78F098AA}"/>
              </a:ext>
            </a:extLst>
          </p:cNvPr>
          <p:cNvSpPr txBox="1"/>
          <p:nvPr/>
        </p:nvSpPr>
        <p:spPr>
          <a:xfrm>
            <a:off x="5168981" y="5582307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7EE31F6-2CF4-41B8-9820-3ADB5F6F439F}"/>
              </a:ext>
            </a:extLst>
          </p:cNvPr>
          <p:cNvSpPr txBox="1"/>
          <p:nvPr/>
        </p:nvSpPr>
        <p:spPr>
          <a:xfrm>
            <a:off x="6557541" y="5589396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A634ABCF-7CAD-480E-A3AB-DA6DBD57AB34}"/>
              </a:ext>
            </a:extLst>
          </p:cNvPr>
          <p:cNvSpPr txBox="1"/>
          <p:nvPr/>
        </p:nvSpPr>
        <p:spPr>
          <a:xfrm>
            <a:off x="7921796" y="5589488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Arb.pakke 1</a:t>
            </a:r>
          </a:p>
          <a:p>
            <a:pPr algn="ctr"/>
            <a:endParaRPr lang="nb-NO" sz="1100"/>
          </a:p>
          <a:p>
            <a:pPr algn="ctr"/>
            <a:endParaRPr lang="nb-NO" sz="110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900D8B2-563A-49F9-AD63-6DB31CD26C35}"/>
              </a:ext>
            </a:extLst>
          </p:cNvPr>
          <p:cNvSpPr txBox="1"/>
          <p:nvPr/>
        </p:nvSpPr>
        <p:spPr>
          <a:xfrm>
            <a:off x="5291566" y="2703268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Prosjekt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5233E961-2E4B-42C4-AACD-017DDAB433F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1A2F35-F743-4E63-BF3B-AA76E3027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2231" y="1"/>
            <a:ext cx="10515600" cy="10287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</a:rPr>
              <a:t>Prosjekt med 2 </a:t>
            </a:r>
            <a:r>
              <a:rPr lang="nb-NO" err="1">
                <a:solidFill>
                  <a:schemeClr val="bg1"/>
                </a:solidFill>
              </a:rPr>
              <a:t>finansiører</a:t>
            </a:r>
            <a:r>
              <a:rPr lang="nb-NO">
                <a:solidFill>
                  <a:schemeClr val="bg1"/>
                </a:solidFill>
              </a:rPr>
              <a:t> og 1 kst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1767C8-A779-403C-8363-9EC600D92DB1}"/>
              </a:ext>
            </a:extLst>
          </p:cNvPr>
          <p:cNvSpPr txBox="1"/>
          <p:nvPr/>
        </p:nvSpPr>
        <p:spPr>
          <a:xfrm>
            <a:off x="302703" y="3008975"/>
            <a:ext cx="2453561" cy="578882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1 delprosjekt per finansiø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BF412D-2EE0-4D65-9493-2122E5A28852}"/>
              </a:ext>
            </a:extLst>
          </p:cNvPr>
          <p:cNvSpPr txBox="1"/>
          <p:nvPr/>
        </p:nvSpPr>
        <p:spPr>
          <a:xfrm>
            <a:off x="5241501" y="2734045"/>
            <a:ext cx="1507187" cy="3693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Mobilise-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09F2C11-67E3-4D8F-92FB-89F712D7EF9B}"/>
              </a:ext>
            </a:extLst>
          </p:cNvPr>
          <p:cNvSpPr txBox="1"/>
          <p:nvPr/>
        </p:nvSpPr>
        <p:spPr>
          <a:xfrm>
            <a:off x="3462600" y="5589396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1: Algorithm developmen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D8388BF-2E95-4C89-ABBE-11197FDAE55D}"/>
              </a:ext>
            </a:extLst>
          </p:cNvPr>
          <p:cNvSpPr txBox="1"/>
          <p:nvPr/>
        </p:nvSpPr>
        <p:spPr>
          <a:xfrm>
            <a:off x="5057375" y="5572684"/>
            <a:ext cx="1066448" cy="7694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2: Definition and validation of digital mobilit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2030805-7A7A-47CA-92BE-5E0E01A8ABF3}"/>
              </a:ext>
            </a:extLst>
          </p:cNvPr>
          <p:cNvSpPr txBox="1"/>
          <p:nvPr/>
        </p:nvSpPr>
        <p:spPr>
          <a:xfrm>
            <a:off x="6550760" y="5575217"/>
            <a:ext cx="1066448" cy="6001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3: </a:t>
            </a:r>
            <a:r>
              <a:rPr lang="nb-NO" sz="1100" err="1"/>
              <a:t>Regulatory</a:t>
            </a:r>
            <a:r>
              <a:rPr lang="nb-NO" sz="1100"/>
              <a:t>, HT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769C21-5C8A-4318-97E1-D0744297D94B}"/>
              </a:ext>
            </a:extLst>
          </p:cNvPr>
          <p:cNvSpPr txBox="1"/>
          <p:nvPr/>
        </p:nvSpPr>
        <p:spPr>
          <a:xfrm>
            <a:off x="7921796" y="5589396"/>
            <a:ext cx="1066448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100"/>
              <a:t>WP4: Statistical analysi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E79B09E-9E73-4D23-99D6-8B0A3E2E3E69}"/>
              </a:ext>
            </a:extLst>
          </p:cNvPr>
          <p:cNvSpPr/>
          <p:nvPr/>
        </p:nvSpPr>
        <p:spPr>
          <a:xfrm>
            <a:off x="7200588" y="3943294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Finansiør 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3D34F51-FAD8-4AB5-863B-859E1EC13B87}"/>
              </a:ext>
            </a:extLst>
          </p:cNvPr>
          <p:cNvSpPr txBox="1"/>
          <p:nvPr/>
        </p:nvSpPr>
        <p:spPr>
          <a:xfrm>
            <a:off x="7200588" y="4027706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Næringsliv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6A1CDEB-FDB2-41FB-B5BA-05364C807D2A}"/>
              </a:ext>
            </a:extLst>
          </p:cNvPr>
          <p:cNvSpPr/>
          <p:nvPr/>
        </p:nvSpPr>
        <p:spPr>
          <a:xfrm>
            <a:off x="5592049" y="3909570"/>
            <a:ext cx="1265608" cy="1074166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ostnads-omveltning</a:t>
            </a:r>
          </a:p>
          <a:p>
            <a:pPr algn="ctr"/>
            <a:endParaRPr lang="nb-NO" sz="1100">
              <a:solidFill>
                <a:schemeClr val="tx1"/>
              </a:solidFill>
            </a:endParaRPr>
          </a:p>
        </p:txBody>
      </p:sp>
      <p:sp>
        <p:nvSpPr>
          <p:cNvPr id="45" name="Arrow: Curved Up 44">
            <a:extLst>
              <a:ext uri="{FF2B5EF4-FFF2-40B4-BE49-F238E27FC236}">
                <a16:creationId xmlns:a16="http://schemas.microsoft.com/office/drawing/2014/main" id="{E7CAFD35-70B2-423C-9D15-9D49E126ED8F}"/>
              </a:ext>
            </a:extLst>
          </p:cNvPr>
          <p:cNvSpPr/>
          <p:nvPr/>
        </p:nvSpPr>
        <p:spPr>
          <a:xfrm flipH="1">
            <a:off x="4822725" y="4860696"/>
            <a:ext cx="1005277" cy="224634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6" name="Arrow: Curved Up 45">
            <a:extLst>
              <a:ext uri="{FF2B5EF4-FFF2-40B4-BE49-F238E27FC236}">
                <a16:creationId xmlns:a16="http://schemas.microsoft.com/office/drawing/2014/main" id="{DAEE5462-6C36-494D-9176-6F10B76C53ED}"/>
              </a:ext>
            </a:extLst>
          </p:cNvPr>
          <p:cNvSpPr/>
          <p:nvPr/>
        </p:nvSpPr>
        <p:spPr>
          <a:xfrm>
            <a:off x="6634962" y="4834090"/>
            <a:ext cx="1005275" cy="26587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tx1"/>
              </a:solidFill>
            </a:endParaRPr>
          </a:p>
        </p:txBody>
      </p:sp>
      <p:sp>
        <p:nvSpPr>
          <p:cNvPr id="49" name="TekstSylinder 66">
            <a:extLst>
              <a:ext uri="{FF2B5EF4-FFF2-40B4-BE49-F238E27FC236}">
                <a16:creationId xmlns:a16="http://schemas.microsoft.com/office/drawing/2014/main" id="{C7606FA9-897F-4BAE-8534-2CD04B545994}"/>
              </a:ext>
            </a:extLst>
          </p:cNvPr>
          <p:cNvSpPr txBox="1"/>
          <p:nvPr/>
        </p:nvSpPr>
        <p:spPr>
          <a:xfrm>
            <a:off x="8599724" y="4572835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Næringsliv</a:t>
            </a:r>
          </a:p>
        </p:txBody>
      </p: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5304E7AC-F410-4FD7-8420-1C7DEFEF63AE}"/>
              </a:ext>
            </a:extLst>
          </p:cNvPr>
          <p:cNvCxnSpPr>
            <a:cxnSpLocks/>
            <a:stCxn id="21" idx="2"/>
            <a:endCxn id="15" idx="0"/>
          </p:cNvCxnSpPr>
          <p:nvPr/>
        </p:nvCxnSpPr>
        <p:spPr>
          <a:xfrm rot="16200000" flipH="1">
            <a:off x="5722156" y="2461105"/>
            <a:ext cx="545877" cy="1"/>
          </a:xfrm>
          <a:prstGeom prst="bentConnector3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4DF1F8BD-A71A-4FAF-8561-6FD98DB1AFA3}"/>
              </a:ext>
            </a:extLst>
          </p:cNvPr>
          <p:cNvCxnSpPr>
            <a:cxnSpLocks/>
            <a:stCxn id="15" idx="2"/>
            <a:endCxn id="16" idx="0"/>
          </p:cNvCxnSpPr>
          <p:nvPr/>
        </p:nvCxnSpPr>
        <p:spPr>
          <a:xfrm rot="5400000">
            <a:off x="4647037" y="2596869"/>
            <a:ext cx="841550" cy="1854566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43F8E980-CD8E-4280-B17C-C70CBDE702D4}"/>
              </a:ext>
            </a:extLst>
          </p:cNvPr>
          <p:cNvCxnSpPr>
            <a:cxnSpLocks/>
            <a:stCxn id="15" idx="2"/>
            <a:endCxn id="22" idx="0"/>
          </p:cNvCxnSpPr>
          <p:nvPr/>
        </p:nvCxnSpPr>
        <p:spPr>
          <a:xfrm rot="16200000" flipH="1">
            <a:off x="6564159" y="2534313"/>
            <a:ext cx="839917" cy="1978044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FA47F2A4-37C1-4032-A4F0-77FBF46601CB}"/>
              </a:ext>
            </a:extLst>
          </p:cNvPr>
          <p:cNvCxnSpPr>
            <a:cxnSpLocks/>
            <a:stCxn id="16" idx="2"/>
            <a:endCxn id="17" idx="0"/>
          </p:cNvCxnSpPr>
          <p:nvPr/>
        </p:nvCxnSpPr>
        <p:spPr>
          <a:xfrm rot="5400000">
            <a:off x="3569108" y="5017975"/>
            <a:ext cx="998138" cy="144705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nector: Elbow 51">
            <a:extLst>
              <a:ext uri="{FF2B5EF4-FFF2-40B4-BE49-F238E27FC236}">
                <a16:creationId xmlns:a16="http://schemas.microsoft.com/office/drawing/2014/main" id="{0BBCFDF3-22DE-44C0-B68F-68DC8DBBD80E}"/>
              </a:ext>
            </a:extLst>
          </p:cNvPr>
          <p:cNvCxnSpPr>
            <a:cxnSpLocks/>
            <a:stCxn id="16" idx="2"/>
            <a:endCxn id="18" idx="0"/>
          </p:cNvCxnSpPr>
          <p:nvPr/>
        </p:nvCxnSpPr>
        <p:spPr>
          <a:xfrm rot="16200000" flipH="1">
            <a:off x="4374851" y="4356936"/>
            <a:ext cx="981426" cy="145007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57288DAC-786E-4D89-84E2-6E95C14220AF}"/>
              </a:ext>
            </a:extLst>
          </p:cNvPr>
          <p:cNvCxnSpPr>
            <a:cxnSpLocks/>
            <a:stCxn id="16" idx="2"/>
            <a:endCxn id="19" idx="0"/>
          </p:cNvCxnSpPr>
          <p:nvPr/>
        </p:nvCxnSpPr>
        <p:spPr>
          <a:xfrm rot="16200000" flipH="1">
            <a:off x="5120277" y="3611509"/>
            <a:ext cx="983959" cy="2943455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527D1E8B-5043-4F6C-B263-AE3C1B7D506A}"/>
              </a:ext>
            </a:extLst>
          </p:cNvPr>
          <p:cNvCxnSpPr>
            <a:cxnSpLocks/>
            <a:stCxn id="16" idx="2"/>
            <a:endCxn id="20" idx="0"/>
          </p:cNvCxnSpPr>
          <p:nvPr/>
        </p:nvCxnSpPr>
        <p:spPr>
          <a:xfrm rot="16200000" flipH="1">
            <a:off x="5798705" y="2933081"/>
            <a:ext cx="998138" cy="4314491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F454C111-050C-4B31-A796-B5D9816DCE05}"/>
              </a:ext>
            </a:extLst>
          </p:cNvPr>
          <p:cNvCxnSpPr>
            <a:cxnSpLocks/>
            <a:stCxn id="22" idx="2"/>
            <a:endCxn id="20" idx="3"/>
          </p:cNvCxnSpPr>
          <p:nvPr/>
        </p:nvCxnSpPr>
        <p:spPr>
          <a:xfrm rot="16200000" flipH="1">
            <a:off x="7937899" y="4754494"/>
            <a:ext cx="1085585" cy="1015105"/>
          </a:xfrm>
          <a:prstGeom prst="bentConnector4">
            <a:avLst>
              <a:gd name="adj1" fmla="val 27118"/>
              <a:gd name="adj2" fmla="val 122520"/>
            </a:avLst>
          </a:prstGeom>
          <a:ln w="19050">
            <a:solidFill>
              <a:schemeClr val="accent2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ECF3AC9B-3CAC-4046-B561-917E1533FA52}"/>
              </a:ext>
            </a:extLst>
          </p:cNvPr>
          <p:cNvSpPr/>
          <p:nvPr/>
        </p:nvSpPr>
        <p:spPr>
          <a:xfrm>
            <a:off x="3347433" y="3796874"/>
            <a:ext cx="1545101" cy="775961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elprosjekt</a:t>
            </a:r>
          </a:p>
          <a:p>
            <a:pPr algn="ctr"/>
            <a:r>
              <a:rPr lang="nb-NO"/>
              <a:t>Finansiør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BA99C4B-CE6F-47E3-9BFA-2C8B48B84088}"/>
              </a:ext>
            </a:extLst>
          </p:cNvPr>
          <p:cNvSpPr txBox="1"/>
          <p:nvPr/>
        </p:nvSpPr>
        <p:spPr>
          <a:xfrm>
            <a:off x="3360920" y="3944927"/>
            <a:ext cx="155921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err="1"/>
              <a:t>Mobilise</a:t>
            </a:r>
            <a:r>
              <a:rPr lang="nb-NO"/>
              <a:t>-D</a:t>
            </a:r>
          </a:p>
          <a:p>
            <a:pPr algn="ctr"/>
            <a:r>
              <a:rPr lang="nb-NO"/>
              <a:t>EU</a:t>
            </a:r>
          </a:p>
        </p:txBody>
      </p:sp>
      <p:sp>
        <p:nvSpPr>
          <p:cNvPr id="47" name="TekstSylinder 66">
            <a:extLst>
              <a:ext uri="{FF2B5EF4-FFF2-40B4-BE49-F238E27FC236}">
                <a16:creationId xmlns:a16="http://schemas.microsoft.com/office/drawing/2014/main" id="{C2BB70B5-9865-48D8-8D53-BFCB68F98B49}"/>
              </a:ext>
            </a:extLst>
          </p:cNvPr>
          <p:cNvSpPr txBox="1"/>
          <p:nvPr/>
        </p:nvSpPr>
        <p:spPr>
          <a:xfrm>
            <a:off x="2702408" y="4321821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EU</a:t>
            </a:r>
          </a:p>
        </p:txBody>
      </p:sp>
      <p:sp>
        <p:nvSpPr>
          <p:cNvPr id="48" name="TekstSylinder 66">
            <a:extLst>
              <a:ext uri="{FF2B5EF4-FFF2-40B4-BE49-F238E27FC236}">
                <a16:creationId xmlns:a16="http://schemas.microsoft.com/office/drawing/2014/main" id="{0C5D6474-DECE-4484-A2C9-23C0B64B4730}"/>
              </a:ext>
            </a:extLst>
          </p:cNvPr>
          <p:cNvSpPr txBox="1"/>
          <p:nvPr/>
        </p:nvSpPr>
        <p:spPr>
          <a:xfrm>
            <a:off x="2702408" y="4629864"/>
            <a:ext cx="1006024" cy="2308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900"/>
              <a:t>H2020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BE7FA0D-33B3-4B05-96C3-AEC8B10ABA92}"/>
              </a:ext>
            </a:extLst>
          </p:cNvPr>
          <p:cNvSpPr txBox="1"/>
          <p:nvPr/>
        </p:nvSpPr>
        <p:spPr>
          <a:xfrm>
            <a:off x="5241500" y="1539304"/>
            <a:ext cx="1690084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Hovedprosjekt</a:t>
            </a:r>
          </a:p>
          <a:p>
            <a:pPr algn="ctr"/>
            <a:endParaRPr lang="nb-NO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EC2E8A-87A0-44BA-9121-077A6F3738AE}"/>
              </a:ext>
            </a:extLst>
          </p:cNvPr>
          <p:cNvSpPr txBox="1"/>
          <p:nvPr/>
        </p:nvSpPr>
        <p:spPr>
          <a:xfrm>
            <a:off x="5241500" y="1541837"/>
            <a:ext cx="1507187" cy="64633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FI – Center of mobility</a:t>
            </a:r>
          </a:p>
        </p:txBody>
      </p:sp>
    </p:spTree>
    <p:extLst>
      <p:ext uri="{BB962C8B-B14F-4D97-AF65-F5344CB8AC3E}">
        <p14:creationId xmlns:p14="http://schemas.microsoft.com/office/powerpoint/2010/main" val="2216956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8" grpId="0" animBg="1"/>
      <p:bldP spid="19" grpId="0" animBg="1"/>
      <p:bldP spid="20" grpId="0" animBg="1"/>
      <p:bldP spid="25" grpId="0" animBg="1"/>
      <p:bldP spid="49" grpId="0" animBg="1"/>
      <p:bldP spid="16" grpId="0" animBg="1"/>
      <p:bldP spid="47" grpId="0" animBg="1"/>
      <p:bldP spid="48" grpId="0" animBg="1"/>
      <p:bldP spid="2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BDB7EA-D6B2-4C68-A9AF-19FDB120D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888" y="1800755"/>
            <a:ext cx="4865512" cy="617008"/>
          </a:xfrm>
        </p:spPr>
        <p:txBody>
          <a:bodyPr>
            <a:normAutofit fontScale="90000"/>
          </a:bodyPr>
          <a:lstStyle/>
          <a:p>
            <a:r>
              <a:rPr lang="nb-NO"/>
              <a:t>Prosjektstruktur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364F3FE-CC96-4E29-932D-61A83D9A3F29}"/>
              </a:ext>
            </a:extLst>
          </p:cNvPr>
          <p:cNvSpPr txBox="1">
            <a:spLocks/>
          </p:cNvSpPr>
          <p:nvPr/>
        </p:nvSpPr>
        <p:spPr>
          <a:xfrm>
            <a:off x="6810022" y="1800755"/>
            <a:ext cx="5178778" cy="6170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Finansieringskilde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90D9A4E8-D33F-42FB-9AE7-1EA30F7237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700690"/>
              </p:ext>
            </p:extLst>
          </p:nvPr>
        </p:nvGraphicFramePr>
        <p:xfrm>
          <a:off x="270933" y="2496255"/>
          <a:ext cx="4865512" cy="4085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33B9F6D7-3B30-46E4-BCEC-10E756AE37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9434273"/>
              </p:ext>
            </p:extLst>
          </p:nvPr>
        </p:nvGraphicFramePr>
        <p:xfrm>
          <a:off x="6810022" y="2496255"/>
          <a:ext cx="4865512" cy="40851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304EA552-5415-4FD2-85C5-5D378A8F729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84546D4-9D9C-4B4F-A27F-777BB2BEF8B7}"/>
              </a:ext>
            </a:extLst>
          </p:cNvPr>
          <p:cNvSpPr txBox="1">
            <a:spLocks/>
          </p:cNvSpPr>
          <p:nvPr/>
        </p:nvSpPr>
        <p:spPr>
          <a:xfrm>
            <a:off x="1065431" y="33867"/>
            <a:ext cx="10515600" cy="10287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Ulike måter å få oversikt over porteføljen</a:t>
            </a:r>
          </a:p>
        </p:txBody>
      </p:sp>
    </p:spTree>
    <p:extLst>
      <p:ext uri="{BB962C8B-B14F-4D97-AF65-F5344CB8AC3E}">
        <p14:creationId xmlns:p14="http://schemas.microsoft.com/office/powerpoint/2010/main" val="3726777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Graphic spid="8" grpId="0">
        <p:bldAsOne/>
      </p:bldGraphic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87A7D38-2490-4111-90C7-A11A57A56A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812390"/>
            <a:ext cx="8575063" cy="42610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915C611-F080-4E66-AE2D-F69AE68215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5BCF2D-4AF2-4A4B-BEF9-2696448F5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8266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Hvordan kan vi bruke dette?</a:t>
            </a:r>
          </a:p>
        </p:txBody>
      </p:sp>
    </p:spTree>
    <p:extLst>
      <p:ext uri="{BB962C8B-B14F-4D97-AF65-F5344CB8AC3E}">
        <p14:creationId xmlns:p14="http://schemas.microsoft.com/office/powerpoint/2010/main" val="200499522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12E52B5-0DAA-4E81-86C4-AC249511BB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934717"/>
            <a:ext cx="9525275" cy="408226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5D9DBC-B495-4A0F-8BE5-40250427EFD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5" y="-5584974"/>
            <a:ext cx="1028701" cy="12198651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815933-0523-4002-B11D-6662A51B35AB}"/>
              </a:ext>
            </a:extLst>
          </p:cNvPr>
          <p:cNvSpPr txBox="1">
            <a:spLocks/>
          </p:cNvSpPr>
          <p:nvPr/>
        </p:nvSpPr>
        <p:spPr>
          <a:xfrm>
            <a:off x="838200" y="0"/>
            <a:ext cx="10515600" cy="10287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Hvordan kan vi bruke dette?</a:t>
            </a:r>
          </a:p>
        </p:txBody>
      </p:sp>
    </p:spTree>
    <p:extLst>
      <p:ext uri="{BB962C8B-B14F-4D97-AF65-F5344CB8AC3E}">
        <p14:creationId xmlns:p14="http://schemas.microsoft.com/office/powerpoint/2010/main" val="16537060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18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22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5" y="819015"/>
            <a:ext cx="10310240" cy="1571508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: Prosjektstyring BO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390523"/>
            <a:ext cx="9748265" cy="3869218"/>
          </a:xfrm>
        </p:spPr>
        <p:txBody>
          <a:bodyPr anchor="t">
            <a:normAutofit fontScale="92500" lnSpcReduction="10000"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2: </a:t>
            </a:r>
            <a:r>
              <a:rPr lang="nb-NO" sz="2400" i="1" dirty="0">
                <a:solidFill>
                  <a:schemeClr val="bg1"/>
                </a:solidFill>
                <a:sym typeface="Wingdings" panose="05000000000000000000" pitchFamily="2" charset="2"/>
              </a:rPr>
              <a:t>Hvordan kan min enhet utnytte økonomimodellen i prosjektstyringen?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Prosjektleder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Rapportering til ekstern finansiør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Oversikt over prosjektporteføljen BOA</a:t>
            </a:r>
          </a:p>
          <a:p>
            <a:pPr lvl="1"/>
            <a:r>
              <a:rPr lang="nb-NO" sz="2000" i="1" dirty="0">
                <a:solidFill>
                  <a:schemeClr val="bg1"/>
                </a:solidFill>
                <a:sym typeface="Wingdings" panose="05000000000000000000" pitchFamily="2" charset="2"/>
              </a:rPr>
              <a:t>Samspill med BFV		</a:t>
            </a:r>
          </a:p>
          <a:p>
            <a:pPr marL="457200" lvl="1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hlinkClick r:id="rId3"/>
              </a:rPr>
              <a:t>Prosjektstyring BOA (padlet.com)</a:t>
            </a:r>
            <a:endParaRPr lang="nb-NO" sz="2400" dirty="0"/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Felles diskusjon med oppsummering fra gruppene. </a:t>
            </a:r>
          </a:p>
        </p:txBody>
      </p:sp>
    </p:spTree>
    <p:extLst>
      <p:ext uri="{BB962C8B-B14F-4D97-AF65-F5344CB8AC3E}">
        <p14:creationId xmlns:p14="http://schemas.microsoft.com/office/powerpoint/2010/main" val="26577977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2BAED89-A0B9-4143-B84F-6EC269F4A9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ndre momenter i BOTT økonomimodel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05007C-5959-42BC-B40A-E1E930FB1B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Leiested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vregningsprosjek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avskrivinger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ellesprosjekt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64870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innhold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Da leiested og TDI-modellen ble etablert, ble definisjonen av leiested tolket forskjellig ved NTNU. Definisjonen er presisert, se punkt under:</a:t>
            </a:r>
          </a:p>
        </p:txBody>
      </p:sp>
      <p:pic>
        <p:nvPicPr>
          <p:cNvPr id="11" name="Bilde 10"/>
          <p:cNvPicPr/>
          <p:nvPr/>
        </p:nvPicPr>
        <p:blipFill>
          <a:blip r:embed="rId2"/>
          <a:stretch>
            <a:fillRect/>
          </a:stretch>
        </p:blipFill>
        <p:spPr>
          <a:xfrm>
            <a:off x="748815" y="3252884"/>
            <a:ext cx="10652100" cy="26755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3FB021-FDE8-46FC-9B89-6276CBA5DE0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522"/>
          <a:stretch/>
        </p:blipFill>
        <p:spPr>
          <a:xfrm rot="5400000">
            <a:off x="5578324" y="-5584975"/>
            <a:ext cx="1028701" cy="12198651"/>
          </a:xfrm>
          <a:prstGeom prst="rect">
            <a:avLst/>
          </a:prstGeom>
        </p:spPr>
      </p:pic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1286933" y="169333"/>
            <a:ext cx="10339910" cy="859368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Leiested - definisjon</a:t>
            </a:r>
          </a:p>
        </p:txBody>
      </p:sp>
    </p:spTree>
    <p:extLst>
      <p:ext uri="{BB962C8B-B14F-4D97-AF65-F5344CB8AC3E}">
        <p14:creationId xmlns:p14="http://schemas.microsoft.com/office/powerpoint/2010/main" val="27996857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Leiested bør være eget koststed for å kunne synliggjøre inntekter og kostnader for leiestedet</a:t>
            </a:r>
          </a:p>
          <a:p>
            <a:r>
              <a:rPr lang="nb-NO"/>
              <a:t>Prosjektstrukturen brukes til å gruppere kostnader og inntekter på hvert instrument dersom dette er ønskelig</a:t>
            </a:r>
          </a:p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17069C-1AF0-4E2E-8928-C65E19DB2B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4975" y="-5584975"/>
            <a:ext cx="1028701" cy="12198651"/>
          </a:xfrm>
          <a:prstGeom prst="rect">
            <a:avLst/>
          </a:prstGeom>
        </p:spPr>
      </p:pic>
      <p:sp>
        <p:nvSpPr>
          <p:cNvPr id="5" name="Tittel 3">
            <a:extLst>
              <a:ext uri="{FF2B5EF4-FFF2-40B4-BE49-F238E27FC236}">
                <a16:creationId xmlns:a16="http://schemas.microsoft.com/office/drawing/2014/main" id="{36781D80-9225-4863-9643-48DFD5589D97}"/>
              </a:ext>
            </a:extLst>
          </p:cNvPr>
          <p:cNvSpPr txBox="1">
            <a:spLocks/>
          </p:cNvSpPr>
          <p:nvPr/>
        </p:nvSpPr>
        <p:spPr>
          <a:xfrm>
            <a:off x="1286933" y="169333"/>
            <a:ext cx="10339910" cy="703912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>
                <a:solidFill>
                  <a:schemeClr val="bg1"/>
                </a:solidFill>
              </a:rPr>
              <a:t>Leiested som koststed</a:t>
            </a:r>
          </a:p>
        </p:txBody>
      </p:sp>
    </p:spTree>
    <p:extLst>
      <p:ext uri="{BB962C8B-B14F-4D97-AF65-F5344CB8AC3E}">
        <p14:creationId xmlns:p14="http://schemas.microsoft.com/office/powerpoint/2010/main" val="109355266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E6C814-64E8-4B41-BAA4-60D24C56B25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fontAlgn="base"/>
            <a:r>
              <a:rPr lang="nb-NO" b="1"/>
              <a:t>Avskrivinger på investeringer: </a:t>
            </a:r>
            <a:r>
              <a:rPr lang="nb-NO"/>
              <a:t>Avskrivningene vil nå bli synliggjort for hver investering på koststedet som investeringen er kontert på.</a:t>
            </a:r>
          </a:p>
          <a:p>
            <a:pPr lvl="1" fontAlgn="base"/>
            <a:r>
              <a:rPr lang="nb-NO"/>
              <a:t>Det vil medføre at enhetene får en bedre oversikt over behovet for reinvesteringer og kan ha et grunnlag for å utarbeide planer for det. </a:t>
            </a:r>
          </a:p>
          <a:p>
            <a:pPr lvl="1" fontAlgn="base"/>
            <a:r>
              <a:rPr lang="nb-NO"/>
              <a:t>Arbeid med anlegg og anleggsregister blir gjort senere i høst</a:t>
            </a:r>
          </a:p>
          <a:p>
            <a:pPr fontAlgn="base"/>
            <a:r>
              <a:rPr lang="nb-NO" b="1"/>
              <a:t>Avregningsprosjekt: </a:t>
            </a:r>
            <a:r>
              <a:rPr lang="nb-NO"/>
              <a:t>Ett felles avregningsdelprosjekt for hele NTNU. </a:t>
            </a:r>
          </a:p>
          <a:p>
            <a:pPr lvl="1" fontAlgn="base"/>
            <a:r>
              <a:rPr lang="nb-NO"/>
              <a:t>Det vil være koststedet sammen med avregningsdelprosjektet som gir oversikt over enhetens saldo på avregningsprosjektet. </a:t>
            </a:r>
          </a:p>
          <a:p>
            <a:pPr fontAlgn="base"/>
            <a:r>
              <a:rPr lang="nb-NO" b="1"/>
              <a:t>Fellesprosjekt: </a:t>
            </a:r>
            <a:r>
              <a:rPr lang="nb-NO"/>
              <a:t>Dagens fellesprosjekt, også kalt 00-prosjektet (prosjekt 00000000), vil i det nye systemet få et annet nummer </a:t>
            </a:r>
          </a:p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C33218-AB15-4EB0-8A24-AF7B363B753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4975" y="-5584975"/>
            <a:ext cx="1028701" cy="1219865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687EBF-0D56-4512-883F-235BD2CC5A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1028700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Andre endringer</a:t>
            </a:r>
          </a:p>
        </p:txBody>
      </p:sp>
    </p:spTree>
    <p:extLst>
      <p:ext uri="{BB962C8B-B14F-4D97-AF65-F5344CB8AC3E}">
        <p14:creationId xmlns:p14="http://schemas.microsoft.com/office/powerpoint/2010/main" val="2199471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B9CC845-3646-419A-88FA-85FDF9889DD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177351" y="-5184005"/>
            <a:ext cx="1830643" cy="121986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37A53F-8ADA-4F50-9329-3A53A989A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Nye kildesystemer, hva betyr dett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982EE1-100E-4F78-9929-7A5D7BEE54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136" y="3256596"/>
            <a:ext cx="3750295" cy="21222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8264E06-71CC-4CD9-9842-7B8A640CF2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83274" y="3338520"/>
            <a:ext cx="2886114" cy="2294460"/>
          </a:xfrm>
          <a:prstGeom prst="rect">
            <a:avLst/>
          </a:prstGeom>
          <a:effectLst/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42FBB8-AD09-4B8C-A65E-747DB5FB3EF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54444" y="2966420"/>
            <a:ext cx="3305636" cy="11717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7EF888-FFF8-4220-91E1-1ECA3DB9C4C0}"/>
              </a:ext>
            </a:extLst>
          </p:cNvPr>
          <p:cNvSpPr txBox="1"/>
          <p:nvPr/>
        </p:nvSpPr>
        <p:spPr>
          <a:xfrm>
            <a:off x="163136" y="1958229"/>
            <a:ext cx="38505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finner jeg regnskapsrapporter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21AA38-339F-4910-8397-CE6AD0FDDC19}"/>
              </a:ext>
            </a:extLst>
          </p:cNvPr>
          <p:cNvSpPr txBox="1"/>
          <p:nvPr/>
        </p:nvSpPr>
        <p:spPr>
          <a:xfrm>
            <a:off x="4263776" y="1958229"/>
            <a:ext cx="3824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budsjetterer jeg BFV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378EC8-D42E-4A36-B994-AACA88C6BC70}"/>
              </a:ext>
            </a:extLst>
          </p:cNvPr>
          <p:cNvSpPr txBox="1"/>
          <p:nvPr/>
        </p:nvSpPr>
        <p:spPr>
          <a:xfrm>
            <a:off x="8213942" y="1960270"/>
            <a:ext cx="3904829" cy="367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/>
              <a:t>Hvor følger jeg opp BOA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4F3B08-7059-4A5C-8A79-0F2AF88D81A1}"/>
              </a:ext>
            </a:extLst>
          </p:cNvPr>
          <p:cNvSpPr/>
          <p:nvPr/>
        </p:nvSpPr>
        <p:spPr>
          <a:xfrm>
            <a:off x="108870" y="1915627"/>
            <a:ext cx="3904829" cy="48041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A3D189-A98B-4F84-BF35-330806455131}"/>
              </a:ext>
            </a:extLst>
          </p:cNvPr>
          <p:cNvSpPr/>
          <p:nvPr/>
        </p:nvSpPr>
        <p:spPr>
          <a:xfrm>
            <a:off x="8213944" y="1918975"/>
            <a:ext cx="3904829" cy="4803168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9F34607-E6E5-4E07-9840-3AC107E664A0}"/>
              </a:ext>
            </a:extLst>
          </p:cNvPr>
          <p:cNvSpPr/>
          <p:nvPr/>
        </p:nvSpPr>
        <p:spPr>
          <a:xfrm>
            <a:off x="4183332" y="1915627"/>
            <a:ext cx="3904829" cy="4804150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4BF652-D2C0-45F9-9889-5B88171EFFAE}"/>
              </a:ext>
            </a:extLst>
          </p:cNvPr>
          <p:cNvSpPr txBox="1"/>
          <p:nvPr/>
        </p:nvSpPr>
        <p:spPr>
          <a:xfrm>
            <a:off x="678095" y="2794931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BF1F19-7855-4E16-9CF3-7C9D577C1F6D}"/>
              </a:ext>
            </a:extLst>
          </p:cNvPr>
          <p:cNvSpPr txBox="1"/>
          <p:nvPr/>
        </p:nvSpPr>
        <p:spPr>
          <a:xfrm>
            <a:off x="2686469" y="2797991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3137C06-5DE1-4CCF-997A-2D55A4E25BE6}"/>
              </a:ext>
            </a:extLst>
          </p:cNvPr>
          <p:cNvSpPr txBox="1"/>
          <p:nvPr/>
        </p:nvSpPr>
        <p:spPr>
          <a:xfrm>
            <a:off x="4666027" y="2794930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159A88-305C-4A6F-A222-F04CE6D6C6E6}"/>
              </a:ext>
            </a:extLst>
          </p:cNvPr>
          <p:cNvSpPr txBox="1"/>
          <p:nvPr/>
        </p:nvSpPr>
        <p:spPr>
          <a:xfrm>
            <a:off x="6604557" y="2808017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7BCBB2-9C31-4A80-8069-1E44719A6CDF}"/>
              </a:ext>
            </a:extLst>
          </p:cNvPr>
          <p:cNvSpPr txBox="1"/>
          <p:nvPr/>
        </p:nvSpPr>
        <p:spPr>
          <a:xfrm>
            <a:off x="9786021" y="2543040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FØR</a:t>
            </a:r>
          </a:p>
        </p:txBody>
      </p:sp>
      <p:sp>
        <p:nvSpPr>
          <p:cNvPr id="20" name="Multiplikasjonstegn 38">
            <a:extLst>
              <a:ext uri="{FF2B5EF4-FFF2-40B4-BE49-F238E27FC236}">
                <a16:creationId xmlns:a16="http://schemas.microsoft.com/office/drawing/2014/main" id="{05270E28-8D0A-4389-B7AC-EA65099D7FF5}"/>
              </a:ext>
            </a:extLst>
          </p:cNvPr>
          <p:cNvSpPr/>
          <p:nvPr/>
        </p:nvSpPr>
        <p:spPr>
          <a:xfrm>
            <a:off x="9401287" y="2823322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292E64BF-81D7-4D3F-A56C-5B65B5C1B98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3540"/>
          <a:stretch/>
        </p:blipFill>
        <p:spPr>
          <a:xfrm>
            <a:off x="8841056" y="4997296"/>
            <a:ext cx="2783948" cy="159363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2424A34-4BB4-47F7-A314-60B4C26D0670}"/>
              </a:ext>
            </a:extLst>
          </p:cNvPr>
          <p:cNvSpPr txBox="1"/>
          <p:nvPr/>
        </p:nvSpPr>
        <p:spPr>
          <a:xfrm>
            <a:off x="9811789" y="4644704"/>
            <a:ext cx="8424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 dirty="0"/>
              <a:t>NÅ</a:t>
            </a:r>
          </a:p>
        </p:txBody>
      </p:sp>
    </p:spTree>
    <p:extLst>
      <p:ext uri="{BB962C8B-B14F-4D97-AF65-F5344CB8AC3E}">
        <p14:creationId xmlns:p14="http://schemas.microsoft.com/office/powerpoint/2010/main" val="226316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4" grpId="0"/>
      <p:bldP spid="15" grpId="0"/>
      <p:bldP spid="16" grpId="0"/>
      <p:bldP spid="17" grpId="0"/>
      <p:bldP spid="18" grpId="0"/>
      <p:bldP spid="20" grpId="0" animBg="1"/>
      <p:bldP spid="22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5" name="Slide Background Fill">
            <a:extLst>
              <a:ext uri="{FF2B5EF4-FFF2-40B4-BE49-F238E27FC236}">
                <a16:creationId xmlns:a16="http://schemas.microsoft.com/office/drawing/2014/main" id="{03AF1C04-3FEF-41BD-BB84-2F263765BE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18">
            <a:extLst>
              <a:ext uri="{FF2B5EF4-FFF2-40B4-BE49-F238E27FC236}">
                <a16:creationId xmlns:a16="http://schemas.microsoft.com/office/drawing/2014/main" id="{2DD5E267-EB6F-47DF-ABEF-2C1BED44D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2848" y="0"/>
            <a:ext cx="12188949" cy="6858000"/>
            <a:chOff x="-2848" y="0"/>
            <a:chExt cx="12188949" cy="6858000"/>
          </a:xfrm>
        </p:grpSpPr>
        <p:sp>
          <p:nvSpPr>
            <p:cNvPr id="37" name="Color Cover">
              <a:extLst>
                <a:ext uri="{FF2B5EF4-FFF2-40B4-BE49-F238E27FC236}">
                  <a16:creationId xmlns:a16="http://schemas.microsoft.com/office/drawing/2014/main" id="{4BA86AA3-0623-4268-861E-ADA01A7C076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5">
                <a:alpha val="4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Color Cover">
              <a:extLst>
                <a:ext uri="{FF2B5EF4-FFF2-40B4-BE49-F238E27FC236}">
                  <a16:creationId xmlns:a16="http://schemas.microsoft.com/office/drawing/2014/main" id="{72692EF2-4C1F-4ED7-9C00-6CF92783E25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2848" y="0"/>
              <a:ext cx="12188949" cy="6858000"/>
            </a:xfrm>
            <a:prstGeom prst="rect">
              <a:avLst/>
            </a:prstGeom>
            <a:solidFill>
              <a:schemeClr val="accent6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" name="Group 22">
            <a:extLst>
              <a:ext uri="{FF2B5EF4-FFF2-40B4-BE49-F238E27FC236}">
                <a16:creationId xmlns:a16="http://schemas.microsoft.com/office/drawing/2014/main" id="{66828D02-A05D-412B-9F20-B68E970B9F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51279" y="598259"/>
            <a:ext cx="10889442" cy="5680742"/>
            <a:chOff x="651279" y="598259"/>
            <a:chExt cx="10889442" cy="5680742"/>
          </a:xfrm>
        </p:grpSpPr>
        <p:sp>
          <p:nvSpPr>
            <p:cNvPr id="40" name="Color">
              <a:extLst>
                <a:ext uri="{FF2B5EF4-FFF2-40B4-BE49-F238E27FC236}">
                  <a16:creationId xmlns:a16="http://schemas.microsoft.com/office/drawing/2014/main" id="{A1A8E50E-11DE-480E-A93B-F503760BC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Color">
              <a:extLst>
                <a:ext uri="{FF2B5EF4-FFF2-40B4-BE49-F238E27FC236}">
                  <a16:creationId xmlns:a16="http://schemas.microsoft.com/office/drawing/2014/main" id="{D2E2EE99-89A4-435B-B61A-3C8B5B2B2D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2" name="Group 26">
            <a:extLst>
              <a:ext uri="{FF2B5EF4-FFF2-40B4-BE49-F238E27FC236}">
                <a16:creationId xmlns:a16="http://schemas.microsoft.com/office/drawing/2014/main" id="{E27AF472-EAE3-4572-AB69-B92BD10DBC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43" name="Freeform: Shape 27">
              <a:extLst>
                <a:ext uri="{FF2B5EF4-FFF2-40B4-BE49-F238E27FC236}">
                  <a16:creationId xmlns:a16="http://schemas.microsoft.com/office/drawing/2014/main" id="{BF4DB9D2-6215-420C-874C-82EADF8C6C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4" name="Freeform: Shape 28">
              <a:extLst>
                <a:ext uri="{FF2B5EF4-FFF2-40B4-BE49-F238E27FC236}">
                  <a16:creationId xmlns:a16="http://schemas.microsoft.com/office/drawing/2014/main" id="{1F003139-C97C-44FA-B139-32E4DFDCE9C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45" name="Freeform: Shape 29">
              <a:extLst>
                <a:ext uri="{FF2B5EF4-FFF2-40B4-BE49-F238E27FC236}">
                  <a16:creationId xmlns:a16="http://schemas.microsoft.com/office/drawing/2014/main" id="{5CE4DD6E-8CEA-45EE-B630-DBC22144D8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4372F7F-AA3C-470B-AA61-7C35B7722C9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4B605BF-D199-43DD-9328-E99F2ADFC6F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5D42A77-7336-4A35-8922-8098A16AA27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7401EE7D-B85D-4C10-AB8C-71884EFB112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BA2F0A-9D8F-40E4-B51B-11D526390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4985" y="819015"/>
            <a:ext cx="5501548" cy="1409835"/>
          </a:xfrm>
        </p:spPr>
        <p:txBody>
          <a:bodyPr anchor="b">
            <a:norm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Gruppeoppga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E1B92B-B0DF-45D1-9A50-84189FB7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14984" y="2620883"/>
            <a:ext cx="9288009" cy="3394785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r>
              <a:rPr lang="nb-NO" sz="2400" b="1" dirty="0">
                <a:solidFill>
                  <a:schemeClr val="bg1"/>
                </a:solidFill>
              </a:rPr>
              <a:t>Gruppeoppgave 3: </a:t>
            </a:r>
            <a:r>
              <a:rPr lang="nb-NO" sz="2400" i="1" dirty="0">
                <a:solidFill>
                  <a:schemeClr val="bg1"/>
                </a:solidFill>
                <a:sym typeface="Wingdings" panose="05000000000000000000" pitchFamily="2" charset="2"/>
              </a:rPr>
              <a:t>Hvilke spørsmål sitter jeg igjen med nå?</a:t>
            </a: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2400" dirty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Diskuter i grupper.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Legg inn stikkord i felles padlet i gruppediskusjonen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  <a:hlinkClick r:id="rId2"/>
              </a:rPr>
              <a:t>https://padlet.com/annetteyludvigsen/4muuowceneex3s2f</a:t>
            </a:r>
            <a:r>
              <a:rPr lang="nb-NO" sz="2400" dirty="0">
                <a:solidFill>
                  <a:schemeClr val="bg1"/>
                </a:solidFill>
              </a:rPr>
              <a:t> </a:t>
            </a:r>
          </a:p>
          <a:p>
            <a:pPr marL="0" indent="0">
              <a:buNone/>
            </a:pPr>
            <a:r>
              <a:rPr lang="nb-NO" sz="2400" dirty="0">
                <a:solidFill>
                  <a:schemeClr val="bg1"/>
                </a:solidFill>
              </a:rPr>
              <a:t>Svar på spørsmål i plenum.</a:t>
            </a:r>
          </a:p>
        </p:txBody>
      </p:sp>
    </p:spTree>
    <p:extLst>
      <p:ext uri="{BB962C8B-B14F-4D97-AF65-F5344CB8AC3E}">
        <p14:creationId xmlns:p14="http://schemas.microsoft.com/office/powerpoint/2010/main" val="1426443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8F094FEA-5044-46CE-8197-F69963A30D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522"/>
          <a:stretch/>
        </p:blipFill>
        <p:spPr>
          <a:xfrm rot="5400000">
            <a:off x="4283898" y="-4281917"/>
            <a:ext cx="1028701" cy="9596494"/>
          </a:xfrm>
          <a:prstGeom prst="rect">
            <a:avLst/>
          </a:prstGeom>
        </p:spPr>
      </p:pic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927E45B1-55D6-4DCA-8D33-60B6B42E7B06}"/>
              </a:ext>
            </a:extLst>
          </p:cNvPr>
          <p:cNvSpPr/>
          <p:nvPr/>
        </p:nvSpPr>
        <p:spPr>
          <a:xfrm>
            <a:off x="9856046" y="140979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Gammel modell</a:t>
            </a: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Hovedprosjekt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trategisk satsning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enter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3" y="5901588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6" y="5905311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11" name="Connector: Elbow 110">
            <a:extLst>
              <a:ext uri="{FF2B5EF4-FFF2-40B4-BE49-F238E27FC236}">
                <a16:creationId xmlns:a16="http://schemas.microsoft.com/office/drawing/2014/main" id="{CD1E2E20-D7CE-41BB-917C-A0F80D71311C}"/>
              </a:ext>
            </a:extLst>
          </p:cNvPr>
          <p:cNvCxnSpPr>
            <a:cxnSpLocks/>
            <a:endCxn id="137" idx="1"/>
          </p:cNvCxnSpPr>
          <p:nvPr/>
        </p:nvCxnSpPr>
        <p:spPr>
          <a:xfrm rot="16200000" flipV="1">
            <a:off x="4987810" y="3728993"/>
            <a:ext cx="3742943" cy="233779"/>
          </a:xfrm>
          <a:prstGeom prst="bentConnector4">
            <a:avLst>
              <a:gd name="adj1" fmla="val 12196"/>
              <a:gd name="adj2" fmla="val 197785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401" y="480141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50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2" y="47877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9" y="4781579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88875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Ramme</a:t>
            </a: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9" y="317895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Finansieringskilde</a:t>
            </a:r>
          </a:p>
        </p:txBody>
      </p:sp>
      <p:sp>
        <p:nvSpPr>
          <p:cNvPr id="117" name="Rektangel 32">
            <a:extLst>
              <a:ext uri="{FF2B5EF4-FFF2-40B4-BE49-F238E27FC236}">
                <a16:creationId xmlns:a16="http://schemas.microsoft.com/office/drawing/2014/main" id="{4228F3B3-5549-47FB-8A37-C22D9A2A0307}"/>
              </a:ext>
            </a:extLst>
          </p:cNvPr>
          <p:cNvSpPr/>
          <p:nvPr/>
        </p:nvSpPr>
        <p:spPr>
          <a:xfrm>
            <a:off x="6742391" y="242173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</a:t>
            </a:r>
          </a:p>
        </p:txBody>
      </p:sp>
      <p:sp>
        <p:nvSpPr>
          <p:cNvPr id="137" name="Rektangel 32">
            <a:extLst>
              <a:ext uri="{FF2B5EF4-FFF2-40B4-BE49-F238E27FC236}">
                <a16:creationId xmlns:a16="http://schemas.microsoft.com/office/drawing/2014/main" id="{978AF6FC-1B59-4D59-88A6-4DF06A17D44A}"/>
              </a:ext>
            </a:extLst>
          </p:cNvPr>
          <p:cNvSpPr/>
          <p:nvPr/>
        </p:nvSpPr>
        <p:spPr>
          <a:xfrm>
            <a:off x="6742391" y="169541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Aktivitetstype</a:t>
            </a: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92877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  <a:latin typeface="+mn-lt"/>
              </a:rPr>
              <a:t>Endringer i økonomimodellen BFV</a:t>
            </a: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3" y="48082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3" y="5267041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1" y="609772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sjektleder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908131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3" y="4167755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7" name="Kobling: vinkel 96">
            <a:extLst>
              <a:ext uri="{FF2B5EF4-FFF2-40B4-BE49-F238E27FC236}">
                <a16:creationId xmlns:a16="http://schemas.microsoft.com/office/drawing/2014/main" id="{A9195798-BBDC-47F1-9CE6-1DA1CA2B7B9A}"/>
              </a:ext>
            </a:extLst>
          </p:cNvPr>
          <p:cNvCxnSpPr>
            <a:cxnSpLocks/>
            <a:stCxn id="14" idx="1"/>
            <a:endCxn id="117" idx="1"/>
          </p:cNvCxnSpPr>
          <p:nvPr/>
        </p:nvCxnSpPr>
        <p:spPr>
          <a:xfrm rot="10800000">
            <a:off x="6742393" y="2700740"/>
            <a:ext cx="1" cy="2566301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stCxn id="14" idx="1"/>
            <a:endCxn id="114" idx="1"/>
          </p:cNvCxnSpPr>
          <p:nvPr/>
        </p:nvCxnSpPr>
        <p:spPr>
          <a:xfrm rot="10800000" flipH="1">
            <a:off x="6742391" y="3457957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ktangel 27">
            <a:extLst>
              <a:ext uri="{FF2B5EF4-FFF2-40B4-BE49-F238E27FC236}">
                <a16:creationId xmlns:a16="http://schemas.microsoft.com/office/drawing/2014/main" id="{1B73FFB3-1691-49FF-B309-E67BFDC227E2}"/>
              </a:ext>
            </a:extLst>
          </p:cNvPr>
          <p:cNvSpPr/>
          <p:nvPr/>
        </p:nvSpPr>
        <p:spPr>
          <a:xfrm>
            <a:off x="9812111" y="1368416"/>
            <a:ext cx="2274392" cy="961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stCxn id="118" idx="1"/>
            <a:endCxn id="126" idx="1"/>
          </p:cNvCxnSpPr>
          <p:nvPr/>
        </p:nvCxnSpPr>
        <p:spPr>
          <a:xfrm rot="10800000">
            <a:off x="4828251" y="2734077"/>
            <a:ext cx="12700" cy="255227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9006138" y="4518930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107811" y="4971007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1" name="Rektangel: avrundede hjørner 40">
            <a:extLst>
              <a:ext uri="{FF2B5EF4-FFF2-40B4-BE49-F238E27FC236}">
                <a16:creationId xmlns:a16="http://schemas.microsoft.com/office/drawing/2014/main" id="{48F53D11-6902-4400-A246-F9C2C910ECBC}"/>
              </a:ext>
            </a:extLst>
          </p:cNvPr>
          <p:cNvSpPr/>
          <p:nvPr/>
        </p:nvSpPr>
        <p:spPr>
          <a:xfrm>
            <a:off x="9812111" y="15886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Ny modell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379421" y="1416059"/>
            <a:ext cx="25417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Standardverdier i</a:t>
            </a:r>
            <a:r>
              <a:rPr lang="nb-NO" sz="2400"/>
              <a:t>: Konto, koststed, relasjoner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48195" y="4518930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2" name="Avrundet rektangel 51"/>
          <p:cNvSpPr/>
          <p:nvPr/>
        </p:nvSpPr>
        <p:spPr>
          <a:xfrm>
            <a:off x="6568123" y="1478746"/>
            <a:ext cx="1889057" cy="3145267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3" name="Avrundet rektangel 52"/>
          <p:cNvSpPr/>
          <p:nvPr/>
        </p:nvSpPr>
        <p:spPr>
          <a:xfrm>
            <a:off x="4612838" y="5949237"/>
            <a:ext cx="3698813" cy="833391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4" name="Avrundet rektangel 53"/>
          <p:cNvSpPr/>
          <p:nvPr/>
        </p:nvSpPr>
        <p:spPr>
          <a:xfrm>
            <a:off x="4712422" y="2256596"/>
            <a:ext cx="1718988" cy="1566216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9" name="Avrundet rektangel 58"/>
          <p:cNvSpPr/>
          <p:nvPr/>
        </p:nvSpPr>
        <p:spPr>
          <a:xfrm>
            <a:off x="4693207" y="3833562"/>
            <a:ext cx="1718988" cy="2104989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1" name="Avrundet rektangel 60"/>
          <p:cNvSpPr/>
          <p:nvPr/>
        </p:nvSpPr>
        <p:spPr>
          <a:xfrm>
            <a:off x="345296" y="2738761"/>
            <a:ext cx="2966696" cy="1020064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2" name="Avrundet rektangel 61"/>
          <p:cNvSpPr/>
          <p:nvPr/>
        </p:nvSpPr>
        <p:spPr>
          <a:xfrm>
            <a:off x="345397" y="1401876"/>
            <a:ext cx="2369355" cy="1236969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7" name="TekstSylinder 6"/>
          <p:cNvSpPr txBox="1"/>
          <p:nvPr/>
        </p:nvSpPr>
        <p:spPr>
          <a:xfrm>
            <a:off x="369700" y="2804606"/>
            <a:ext cx="3129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Frihetsgradene</a:t>
            </a:r>
            <a:r>
              <a:rPr lang="nb-NO" sz="2400"/>
              <a:t>: Prosjektstruktur BFV</a:t>
            </a:r>
          </a:p>
        </p:txBody>
      </p:sp>
      <p:sp>
        <p:nvSpPr>
          <p:cNvPr id="51" name="Avrundet rektangel 58">
            <a:extLst>
              <a:ext uri="{FF2B5EF4-FFF2-40B4-BE49-F238E27FC236}">
                <a16:creationId xmlns:a16="http://schemas.microsoft.com/office/drawing/2014/main" id="{559C4A41-C037-4D2B-9B35-B692D6A155B3}"/>
              </a:ext>
            </a:extLst>
          </p:cNvPr>
          <p:cNvSpPr/>
          <p:nvPr/>
        </p:nvSpPr>
        <p:spPr>
          <a:xfrm>
            <a:off x="6592663" y="4645970"/>
            <a:ext cx="1718988" cy="1324850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415777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2" fill="hold">
                      <p:stCondLst>
                        <p:cond delay="indefinite"/>
                      </p:stCondLst>
                      <p:childTnLst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18" grpId="0" animBg="1"/>
      <p:bldP spid="123" grpId="0" animBg="1"/>
      <p:bldP spid="124" grpId="0" animBg="1"/>
      <p:bldP spid="126" grpId="0" animBg="1"/>
      <p:bldP spid="90" grpId="0" animBg="1"/>
      <p:bldP spid="115" grpId="0" animBg="1"/>
      <p:bldP spid="14" grpId="0" animBg="1"/>
      <p:bldP spid="113" grpId="0" animBg="1"/>
      <p:bldP spid="114" grpId="0" animBg="1"/>
      <p:bldP spid="117" grpId="0" animBg="1"/>
      <p:bldP spid="137" grpId="0" animBg="1"/>
      <p:bldP spid="138" grpId="0" animBg="1"/>
      <p:bldP spid="87" grpId="0" animBg="1"/>
      <p:bldP spid="92" grpId="0" animBg="1"/>
      <p:bldP spid="96" grpId="0" animBg="1"/>
      <p:bldP spid="28" grpId="0" animBg="1"/>
      <p:bldP spid="39" grpId="0" animBg="1"/>
      <p:bldP spid="40" grpId="0" animBg="1"/>
      <p:bldP spid="41" grpId="0" animBg="1"/>
      <p:bldP spid="6" grpId="0"/>
      <p:bldP spid="9" grpId="0" animBg="1"/>
      <p:bldP spid="52" grpId="0" animBg="1"/>
      <p:bldP spid="53" grpId="0" animBg="1"/>
      <p:bldP spid="54" grpId="0" animBg="1"/>
      <p:bldP spid="59" grpId="0" animBg="1"/>
      <p:bldP spid="61" grpId="0" animBg="1"/>
      <p:bldP spid="62" grpId="0" animBg="1"/>
      <p:bldP spid="7" grpId="0"/>
      <p:bldP spid="5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3026AC2-32EA-4CAC-88F3-A507EBFE4B7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3522"/>
          <a:stretch/>
        </p:blipFill>
        <p:spPr>
          <a:xfrm rot="5400000">
            <a:off x="5581652" y="-5592110"/>
            <a:ext cx="1028701" cy="12192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9FD996C-3548-461F-AD9A-230A967FAD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254" y="1"/>
            <a:ext cx="9891346" cy="1028702"/>
          </a:xfrm>
        </p:spPr>
        <p:txBody>
          <a:bodyPr/>
          <a:lstStyle/>
          <a:p>
            <a:r>
              <a:rPr lang="nb-NO">
                <a:solidFill>
                  <a:schemeClr val="bg1"/>
                </a:solidFill>
              </a:rPr>
              <a:t>Hva betyr dett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1233A3E-45A6-463B-AEFF-6249C6DD5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0001" y="1189141"/>
            <a:ext cx="5845763" cy="5046785"/>
          </a:xfrm>
          <a:prstGeom prst="rect">
            <a:avLst/>
          </a:prstGeom>
        </p:spPr>
      </p:pic>
      <p:sp>
        <p:nvSpPr>
          <p:cNvPr id="10" name="Multiplikasjonstegn 38">
            <a:extLst>
              <a:ext uri="{FF2B5EF4-FFF2-40B4-BE49-F238E27FC236}">
                <a16:creationId xmlns:a16="http://schemas.microsoft.com/office/drawing/2014/main" id="{D847D9C7-FAD5-47D0-AE81-4A0FC073A3E5}"/>
              </a:ext>
            </a:extLst>
          </p:cNvPr>
          <p:cNvSpPr/>
          <p:nvPr/>
        </p:nvSpPr>
        <p:spPr>
          <a:xfrm>
            <a:off x="1676400" y="1028703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Multiplikasjonstegn 38">
            <a:extLst>
              <a:ext uri="{FF2B5EF4-FFF2-40B4-BE49-F238E27FC236}">
                <a16:creationId xmlns:a16="http://schemas.microsoft.com/office/drawing/2014/main" id="{B5B77502-D2F8-4255-9989-AC263A920BCB}"/>
              </a:ext>
            </a:extLst>
          </p:cNvPr>
          <p:cNvSpPr/>
          <p:nvPr/>
        </p:nvSpPr>
        <p:spPr>
          <a:xfrm>
            <a:off x="1676400" y="3429000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42C7EB6-10E2-4340-B0CF-A2EA009E08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938" t="8566"/>
          <a:stretch/>
        </p:blipFill>
        <p:spPr>
          <a:xfrm>
            <a:off x="6814039" y="1266092"/>
            <a:ext cx="4899454" cy="544237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A755350-4762-4667-93FB-96BC3BDAFD2B}"/>
              </a:ext>
            </a:extLst>
          </p:cNvPr>
          <p:cNvSpPr/>
          <p:nvPr/>
        </p:nvSpPr>
        <p:spPr>
          <a:xfrm>
            <a:off x="6814039" y="1266092"/>
            <a:ext cx="448407" cy="16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AC3C2D-1354-4334-9D94-C9313645F888}"/>
              </a:ext>
            </a:extLst>
          </p:cNvPr>
          <p:cNvSpPr/>
          <p:nvPr/>
        </p:nvSpPr>
        <p:spPr>
          <a:xfrm>
            <a:off x="6814038" y="4319953"/>
            <a:ext cx="448407" cy="16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21C6EF1-1614-47ED-B00E-C2567FA0A78F}"/>
              </a:ext>
            </a:extLst>
          </p:cNvPr>
          <p:cNvSpPr txBox="1"/>
          <p:nvPr/>
        </p:nvSpPr>
        <p:spPr>
          <a:xfrm>
            <a:off x="7038241" y="1050642"/>
            <a:ext cx="15034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Delprosjekter</a:t>
            </a:r>
          </a:p>
        </p:txBody>
      </p:sp>
    </p:spTree>
    <p:extLst>
      <p:ext uri="{BB962C8B-B14F-4D97-AF65-F5344CB8AC3E}">
        <p14:creationId xmlns:p14="http://schemas.microsoft.com/office/powerpoint/2010/main" val="2440683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1" grpId="0" animBg="1"/>
      <p:bldP spid="11" grpId="1" animBg="1"/>
      <p:bldP spid="13" grpId="0" animBg="1"/>
      <p:bldP spid="14" grpId="0" animBg="1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8F094FEA-5044-46CE-8197-F69963A30D8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522"/>
          <a:stretch/>
        </p:blipFill>
        <p:spPr>
          <a:xfrm rot="5400000">
            <a:off x="4283898" y="-4281917"/>
            <a:ext cx="1028701" cy="9596494"/>
          </a:xfrm>
          <a:prstGeom prst="rect">
            <a:avLst/>
          </a:prstGeom>
        </p:spPr>
      </p:pic>
      <p:sp>
        <p:nvSpPr>
          <p:cNvPr id="119" name="Rektangel: avrundede hjørner 118">
            <a:extLst>
              <a:ext uri="{FF2B5EF4-FFF2-40B4-BE49-F238E27FC236}">
                <a16:creationId xmlns:a16="http://schemas.microsoft.com/office/drawing/2014/main" id="{927E45B1-55D6-4DCA-8D33-60B6B42E7B06}"/>
              </a:ext>
            </a:extLst>
          </p:cNvPr>
          <p:cNvSpPr/>
          <p:nvPr/>
        </p:nvSpPr>
        <p:spPr>
          <a:xfrm>
            <a:off x="9856046" y="140979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Gammel modell</a:t>
            </a:r>
          </a:p>
        </p:txBody>
      </p:sp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82825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3" name="Rektangel 122">
            <a:extLst>
              <a:ext uri="{FF2B5EF4-FFF2-40B4-BE49-F238E27FC236}">
                <a16:creationId xmlns:a16="http://schemas.microsoft.com/office/drawing/2014/main" id="{32185FC5-8D70-4FB6-9600-37049C9CA2C6}"/>
              </a:ext>
            </a:extLst>
          </p:cNvPr>
          <p:cNvSpPr/>
          <p:nvPr/>
        </p:nvSpPr>
        <p:spPr>
          <a:xfrm>
            <a:off x="4828251" y="3918171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Hovedprosjekt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4" name="Rektangel 123">
            <a:extLst>
              <a:ext uri="{FF2B5EF4-FFF2-40B4-BE49-F238E27FC236}">
                <a16:creationId xmlns:a16="http://schemas.microsoft.com/office/drawing/2014/main" id="{7C784CF9-08C9-4583-9FD2-85FAACF2447A}"/>
              </a:ext>
            </a:extLst>
          </p:cNvPr>
          <p:cNvSpPr/>
          <p:nvPr/>
        </p:nvSpPr>
        <p:spPr>
          <a:xfrm>
            <a:off x="4828251" y="317636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trategisk satsning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26" name="Rektangel 32">
            <a:extLst>
              <a:ext uri="{FF2B5EF4-FFF2-40B4-BE49-F238E27FC236}">
                <a16:creationId xmlns:a16="http://schemas.microsoft.com/office/drawing/2014/main" id="{B5800102-E4C2-4940-B135-CA76E078991A}"/>
              </a:ext>
            </a:extLst>
          </p:cNvPr>
          <p:cNvSpPr/>
          <p:nvPr/>
        </p:nvSpPr>
        <p:spPr>
          <a:xfrm>
            <a:off x="4828251" y="2455079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enter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57363" y="5901588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5586" y="5905311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48195" y="4668588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88685" y="481662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07" name="Connector: Elbow 106">
            <a:extLst>
              <a:ext uri="{FF2B5EF4-FFF2-40B4-BE49-F238E27FC236}">
                <a16:creationId xmlns:a16="http://schemas.microsoft.com/office/drawing/2014/main" id="{867F0CC5-B63E-463B-A9AC-19FC90385BF0}"/>
              </a:ext>
            </a:extLst>
          </p:cNvPr>
          <p:cNvCxnSpPr>
            <a:cxnSpLocks/>
            <a:stCxn id="118" idx="1"/>
            <a:endCxn id="124" idx="1"/>
          </p:cNvCxnSpPr>
          <p:nvPr/>
        </p:nvCxnSpPr>
        <p:spPr>
          <a:xfrm rot="10800000">
            <a:off x="4828251" y="3455364"/>
            <a:ext cx="12700" cy="1830989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/>
          <p:cNvSpPr/>
          <p:nvPr/>
        </p:nvSpPr>
        <p:spPr>
          <a:xfrm>
            <a:off x="6742391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87401" y="4801417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61798" y="4763950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934522" y="4787781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513229" y="4781579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3" name="Rektangel 30">
            <a:extLst>
              <a:ext uri="{FF2B5EF4-FFF2-40B4-BE49-F238E27FC236}">
                <a16:creationId xmlns:a16="http://schemas.microsoft.com/office/drawing/2014/main" id="{0FC9E4D4-DE55-4588-BEBD-80201151A4F7}"/>
              </a:ext>
            </a:extLst>
          </p:cNvPr>
          <p:cNvSpPr/>
          <p:nvPr/>
        </p:nvSpPr>
        <p:spPr>
          <a:xfrm>
            <a:off x="6742391" y="3888753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Spesifisering av finansieringskilde</a:t>
            </a:r>
          </a:p>
        </p:txBody>
      </p:sp>
      <p:sp>
        <p:nvSpPr>
          <p:cNvPr id="114" name="Rektangel 31">
            <a:extLst>
              <a:ext uri="{FF2B5EF4-FFF2-40B4-BE49-F238E27FC236}">
                <a16:creationId xmlns:a16="http://schemas.microsoft.com/office/drawing/2014/main" id="{4AF6FB2D-50FD-4031-A3A4-A203365FCC22}"/>
              </a:ext>
            </a:extLst>
          </p:cNvPr>
          <p:cNvSpPr/>
          <p:nvPr/>
        </p:nvSpPr>
        <p:spPr>
          <a:xfrm>
            <a:off x="6751819" y="3178956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Finansieringskilde</a:t>
            </a:r>
          </a:p>
        </p:txBody>
      </p: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48195" y="120781"/>
            <a:ext cx="9287716" cy="772800"/>
          </a:xfrm>
        </p:spPr>
        <p:txBody>
          <a:bodyPr>
            <a:noAutofit/>
          </a:bodyPr>
          <a:lstStyle/>
          <a:p>
            <a:r>
              <a:rPr lang="nb-NO">
                <a:solidFill>
                  <a:schemeClr val="bg1"/>
                </a:solidFill>
                <a:latin typeface="+mn-lt"/>
              </a:rPr>
              <a:t>Endringer i økonomimodellen BOA</a:t>
            </a:r>
          </a:p>
        </p:txBody>
      </p:sp>
      <p:sp>
        <p:nvSpPr>
          <p:cNvPr id="138" name="Rektangel 137">
            <a:extLst>
              <a:ext uri="{FF2B5EF4-FFF2-40B4-BE49-F238E27FC236}">
                <a16:creationId xmlns:a16="http://schemas.microsoft.com/office/drawing/2014/main" id="{A12FD68B-0BA1-41D3-9E00-A8D09D00D145}"/>
              </a:ext>
            </a:extLst>
          </p:cNvPr>
          <p:cNvSpPr/>
          <p:nvPr/>
        </p:nvSpPr>
        <p:spPr>
          <a:xfrm>
            <a:off x="4828251" y="6105912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type: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41" name="Connector: Elbow 106">
            <a:extLst>
              <a:ext uri="{FF2B5EF4-FFF2-40B4-BE49-F238E27FC236}">
                <a16:creationId xmlns:a16="http://schemas.microsoft.com/office/drawing/2014/main" id="{D72F803F-5591-456B-BAF1-7589A573F07B}"/>
              </a:ext>
            </a:extLst>
          </p:cNvPr>
          <p:cNvCxnSpPr>
            <a:cxnSpLocks/>
            <a:stCxn id="118" idx="1"/>
            <a:endCxn id="138" idx="1"/>
          </p:cNvCxnSpPr>
          <p:nvPr/>
        </p:nvCxnSpPr>
        <p:spPr>
          <a:xfrm rot="10800000" flipV="1">
            <a:off x="4828251" y="5286352"/>
            <a:ext cx="12700" cy="1098560"/>
          </a:xfrm>
          <a:prstGeom prst="bentConnector3">
            <a:avLst>
              <a:gd name="adj1" fmla="val 18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62541" y="482072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67373" y="4808216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cxnSp>
        <p:nvCxnSpPr>
          <p:cNvPr id="89" name="Connector: Elbow 110">
            <a:extLst>
              <a:ext uri="{FF2B5EF4-FFF2-40B4-BE49-F238E27FC236}">
                <a16:creationId xmlns:a16="http://schemas.microsoft.com/office/drawing/2014/main" id="{53E93D0E-E669-4F5F-9D91-7CC990B2DAA7}"/>
              </a:ext>
            </a:extLst>
          </p:cNvPr>
          <p:cNvCxnSpPr>
            <a:cxnSpLocks/>
            <a:stCxn id="14" idx="1"/>
            <a:endCxn id="92" idx="1"/>
          </p:cNvCxnSpPr>
          <p:nvPr/>
        </p:nvCxnSpPr>
        <p:spPr>
          <a:xfrm rot="10800000" flipV="1">
            <a:off x="6742393" y="5267041"/>
            <a:ext cx="1" cy="1109684"/>
          </a:xfrm>
          <a:prstGeom prst="bentConnector3">
            <a:avLst>
              <a:gd name="adj1" fmla="val 2286010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ktangel 30">
            <a:extLst>
              <a:ext uri="{FF2B5EF4-FFF2-40B4-BE49-F238E27FC236}">
                <a16:creationId xmlns:a16="http://schemas.microsoft.com/office/drawing/2014/main" id="{5265243F-AE02-40F4-9350-4B5A0812721D}"/>
              </a:ext>
            </a:extLst>
          </p:cNvPr>
          <p:cNvSpPr/>
          <p:nvPr/>
        </p:nvSpPr>
        <p:spPr>
          <a:xfrm>
            <a:off x="6742391" y="6097724"/>
            <a:ext cx="1461600" cy="558000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black"/>
                </a:solidFill>
                <a:latin typeface="Calibri"/>
              </a:rPr>
              <a:t>Prosjektleder</a:t>
            </a:r>
          </a:p>
          <a:p>
            <a:pPr algn="ctr" defTabSz="914173">
              <a:defRPr/>
            </a:pPr>
            <a:endParaRPr lang="nb-NO" sz="110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8881403" y="4801416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4395D89F-9B1D-453D-88B2-D0C4AA949625}"/>
              </a:ext>
            </a:extLst>
          </p:cNvPr>
          <p:cNvCxnSpPr>
            <a:cxnSpLocks/>
            <a:stCxn id="14" idx="1"/>
            <a:endCxn id="113" idx="1"/>
          </p:cNvCxnSpPr>
          <p:nvPr/>
        </p:nvCxnSpPr>
        <p:spPr>
          <a:xfrm rot="10800000">
            <a:off x="6742393" y="4167755"/>
            <a:ext cx="1" cy="1099287"/>
          </a:xfrm>
          <a:prstGeom prst="bentConnector3">
            <a:avLst>
              <a:gd name="adj1" fmla="val 228601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Kobling: vinkel 26">
            <a:extLst>
              <a:ext uri="{FF2B5EF4-FFF2-40B4-BE49-F238E27FC236}">
                <a16:creationId xmlns:a16="http://schemas.microsoft.com/office/drawing/2014/main" id="{DA577178-C48F-40AC-8BEA-B09D30B7B69B}"/>
              </a:ext>
            </a:extLst>
          </p:cNvPr>
          <p:cNvCxnSpPr>
            <a:stCxn id="14" idx="1"/>
            <a:endCxn id="114" idx="1"/>
          </p:cNvCxnSpPr>
          <p:nvPr/>
        </p:nvCxnSpPr>
        <p:spPr>
          <a:xfrm rot="10800000" flipH="1">
            <a:off x="6742391" y="3457957"/>
            <a:ext cx="9427" cy="1809084"/>
          </a:xfrm>
          <a:prstGeom prst="bentConnector3">
            <a:avLst>
              <a:gd name="adj1" fmla="val -242495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Rektangel 27">
            <a:extLst>
              <a:ext uri="{FF2B5EF4-FFF2-40B4-BE49-F238E27FC236}">
                <a16:creationId xmlns:a16="http://schemas.microsoft.com/office/drawing/2014/main" id="{1B73FFB3-1691-49FF-B309-E67BFDC227E2}"/>
              </a:ext>
            </a:extLst>
          </p:cNvPr>
          <p:cNvSpPr/>
          <p:nvPr/>
        </p:nvSpPr>
        <p:spPr>
          <a:xfrm>
            <a:off x="9812111" y="1368416"/>
            <a:ext cx="2274392" cy="961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AB6F172F-8F70-4F15-BB8A-2A5FBCFCED7D}"/>
              </a:ext>
            </a:extLst>
          </p:cNvPr>
          <p:cNvCxnSpPr>
            <a:stCxn id="118" idx="1"/>
            <a:endCxn id="123" idx="1"/>
          </p:cNvCxnSpPr>
          <p:nvPr/>
        </p:nvCxnSpPr>
        <p:spPr>
          <a:xfrm rot="10800000">
            <a:off x="4828251" y="4197170"/>
            <a:ext cx="12700" cy="1089183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Kobling: vinkel 37">
            <a:extLst>
              <a:ext uri="{FF2B5EF4-FFF2-40B4-BE49-F238E27FC236}">
                <a16:creationId xmlns:a16="http://schemas.microsoft.com/office/drawing/2014/main" id="{42B526F7-70A0-4EB1-BC42-6656DA45AFF8}"/>
              </a:ext>
            </a:extLst>
          </p:cNvPr>
          <p:cNvCxnSpPr>
            <a:stCxn id="118" idx="1"/>
            <a:endCxn id="126" idx="1"/>
          </p:cNvCxnSpPr>
          <p:nvPr/>
        </p:nvCxnSpPr>
        <p:spPr>
          <a:xfrm rot="10800000">
            <a:off x="4828251" y="2734077"/>
            <a:ext cx="12700" cy="2552275"/>
          </a:xfrm>
          <a:prstGeom prst="bentConnector3">
            <a:avLst>
              <a:gd name="adj1" fmla="val 1800000"/>
            </a:avLst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8806078" y="4528548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107811" y="4971007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1" name="Rektangel: avrundede hjørner 40">
            <a:extLst>
              <a:ext uri="{FF2B5EF4-FFF2-40B4-BE49-F238E27FC236}">
                <a16:creationId xmlns:a16="http://schemas.microsoft.com/office/drawing/2014/main" id="{48F53D11-6902-4400-A246-F9C2C910ECBC}"/>
              </a:ext>
            </a:extLst>
          </p:cNvPr>
          <p:cNvSpPr/>
          <p:nvPr/>
        </p:nvSpPr>
        <p:spPr>
          <a:xfrm>
            <a:off x="9812111" y="158863"/>
            <a:ext cx="2186521" cy="79249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/>
              <a:t>Ny modell</a:t>
            </a: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10689431" y="4776803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rbeidspakke (BOA)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379421" y="1416059"/>
            <a:ext cx="25417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Standardverdier i</a:t>
            </a:r>
            <a:r>
              <a:rPr lang="nb-NO" sz="2400"/>
              <a:t>: Konto, koststed, relasjoner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48195" y="4518930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2" name="Avrundet rektangel 51"/>
          <p:cNvSpPr/>
          <p:nvPr/>
        </p:nvSpPr>
        <p:spPr>
          <a:xfrm>
            <a:off x="6502489" y="2938976"/>
            <a:ext cx="1889057" cy="2914197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3" name="Avrundet rektangel 52"/>
          <p:cNvSpPr/>
          <p:nvPr/>
        </p:nvSpPr>
        <p:spPr>
          <a:xfrm>
            <a:off x="4612838" y="5949237"/>
            <a:ext cx="3698813" cy="833391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4" name="Avrundet rektangel 53"/>
          <p:cNvSpPr/>
          <p:nvPr/>
        </p:nvSpPr>
        <p:spPr>
          <a:xfrm>
            <a:off x="4712422" y="2256596"/>
            <a:ext cx="1718988" cy="1566216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9" name="Avrundet rektangel 58"/>
          <p:cNvSpPr/>
          <p:nvPr/>
        </p:nvSpPr>
        <p:spPr>
          <a:xfrm>
            <a:off x="4693207" y="3833562"/>
            <a:ext cx="1718988" cy="789027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1" name="Avrundet rektangel 60"/>
          <p:cNvSpPr/>
          <p:nvPr/>
        </p:nvSpPr>
        <p:spPr>
          <a:xfrm>
            <a:off x="345296" y="2738761"/>
            <a:ext cx="2966696" cy="1020064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2" name="Avrundet rektangel 61"/>
          <p:cNvSpPr/>
          <p:nvPr/>
        </p:nvSpPr>
        <p:spPr>
          <a:xfrm>
            <a:off x="345397" y="1401876"/>
            <a:ext cx="2369355" cy="1236969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7" name="TekstSylinder 6"/>
          <p:cNvSpPr txBox="1"/>
          <p:nvPr/>
        </p:nvSpPr>
        <p:spPr>
          <a:xfrm>
            <a:off x="369700" y="2804606"/>
            <a:ext cx="3129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u="sng"/>
              <a:t>Frihetsgradene</a:t>
            </a:r>
            <a:r>
              <a:rPr lang="nb-NO" sz="2400"/>
              <a:t>: Prosjektstruktur BOA</a:t>
            </a:r>
          </a:p>
        </p:txBody>
      </p:sp>
      <p:sp>
        <p:nvSpPr>
          <p:cNvPr id="55" name="Avrundet rektangel 53">
            <a:extLst>
              <a:ext uri="{FF2B5EF4-FFF2-40B4-BE49-F238E27FC236}">
                <a16:creationId xmlns:a16="http://schemas.microsoft.com/office/drawing/2014/main" id="{5EAF22DB-1ED6-4326-9B12-4F7F348A9134}"/>
              </a:ext>
            </a:extLst>
          </p:cNvPr>
          <p:cNvSpPr/>
          <p:nvPr/>
        </p:nvSpPr>
        <p:spPr>
          <a:xfrm>
            <a:off x="4646788" y="4666531"/>
            <a:ext cx="1718988" cy="1201820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49" name="Avrundet rektangel 58">
            <a:extLst>
              <a:ext uri="{FF2B5EF4-FFF2-40B4-BE49-F238E27FC236}">
                <a16:creationId xmlns:a16="http://schemas.microsoft.com/office/drawing/2014/main" id="{8DC26F51-F4D6-49D6-A977-B605B744CCFD}"/>
              </a:ext>
            </a:extLst>
          </p:cNvPr>
          <p:cNvSpPr/>
          <p:nvPr/>
        </p:nvSpPr>
        <p:spPr>
          <a:xfrm>
            <a:off x="10542758" y="4677801"/>
            <a:ext cx="1649242" cy="1264471"/>
          </a:xfrm>
          <a:prstGeom prst="round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389241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 animBg="1"/>
      <p:bldP spid="118" grpId="0" animBg="1"/>
      <p:bldP spid="123" grpId="0" animBg="1"/>
      <p:bldP spid="124" grpId="0" animBg="1"/>
      <p:bldP spid="126" grpId="0" animBg="1"/>
      <p:bldP spid="90" grpId="0" animBg="1"/>
      <p:bldP spid="115" grpId="0" animBg="1"/>
      <p:bldP spid="14" grpId="0" animBg="1"/>
      <p:bldP spid="113" grpId="0" animBg="1"/>
      <p:bldP spid="114" grpId="0" animBg="1"/>
      <p:bldP spid="138" grpId="0" animBg="1"/>
      <p:bldP spid="87" grpId="0" animBg="1"/>
      <p:bldP spid="92" grpId="0" animBg="1"/>
      <p:bldP spid="96" grpId="0" animBg="1"/>
      <p:bldP spid="28" grpId="0" animBg="1"/>
      <p:bldP spid="39" grpId="0" animBg="1"/>
      <p:bldP spid="40" grpId="0" animBg="1"/>
      <p:bldP spid="41" grpId="0" animBg="1"/>
      <p:bldP spid="43" grpId="0" animBg="1"/>
      <p:bldP spid="6" grpId="0"/>
      <p:bldP spid="9" grpId="0" animBg="1"/>
      <p:bldP spid="52" grpId="0" animBg="1"/>
      <p:bldP spid="53" grpId="0" animBg="1"/>
      <p:bldP spid="54" grpId="0" animBg="1"/>
      <p:bldP spid="59" grpId="0" animBg="1"/>
      <p:bldP spid="61" grpId="0" animBg="1"/>
      <p:bldP spid="62" grpId="0" animBg="1"/>
      <p:bldP spid="7" grpId="0"/>
      <p:bldP spid="55" grpId="0" animBg="1"/>
      <p:bldP spid="49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id="{DFF43A22-6938-4821-8B1C-287CC6A26B6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23522"/>
          <a:stretch/>
        </p:blipFill>
        <p:spPr>
          <a:xfrm rot="5400000">
            <a:off x="7946231" y="-3217068"/>
            <a:ext cx="1028701" cy="7462838"/>
          </a:xfrm>
          <a:prstGeom prst="rect">
            <a:avLst/>
          </a:prstGeom>
        </p:spPr>
      </p:pic>
      <p:sp>
        <p:nvSpPr>
          <p:cNvPr id="118" name="Rektangel 117">
            <a:extLst>
              <a:ext uri="{FF2B5EF4-FFF2-40B4-BE49-F238E27FC236}">
                <a16:creationId xmlns:a16="http://schemas.microsoft.com/office/drawing/2014/main" id="{5DF0A21D-D503-4B4C-BD09-DC82DB4C6848}"/>
              </a:ext>
            </a:extLst>
          </p:cNvPr>
          <p:cNvSpPr/>
          <p:nvPr/>
        </p:nvSpPr>
        <p:spPr>
          <a:xfrm>
            <a:off x="4780056" y="2664550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C7B5C968-7D59-4190-9F3A-13BBDBFC19FB}"/>
              </a:ext>
            </a:extLst>
          </p:cNvPr>
          <p:cNvSpPr txBox="1"/>
          <p:nvPr/>
        </p:nvSpPr>
        <p:spPr>
          <a:xfrm>
            <a:off x="6009168" y="3745410"/>
            <a:ext cx="809763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 defTabSz="914354">
              <a:defRPr/>
            </a:pPr>
            <a:r>
              <a:rPr lang="nb-NO" sz="1200">
                <a:solidFill>
                  <a:schemeClr val="bg2">
                    <a:lumMod val="50000"/>
                  </a:schemeClr>
                </a:solidFill>
                <a:latin typeface="Calibri" panose="020F0502020204030204"/>
              </a:rPr>
              <a:t>Utledes</a:t>
            </a:r>
          </a:p>
        </p:txBody>
      </p:sp>
      <p:cxnSp>
        <p:nvCxnSpPr>
          <p:cNvPr id="77" name="Rett linje 76">
            <a:extLst>
              <a:ext uri="{FF2B5EF4-FFF2-40B4-BE49-F238E27FC236}">
                <a16:creationId xmlns:a16="http://schemas.microsoft.com/office/drawing/2014/main" id="{3D37DB63-AB35-4043-9622-07AF3D3C7749}"/>
              </a:ext>
            </a:extLst>
          </p:cNvPr>
          <p:cNvCxnSpPr>
            <a:cxnSpLocks/>
          </p:cNvCxnSpPr>
          <p:nvPr/>
        </p:nvCxnSpPr>
        <p:spPr>
          <a:xfrm flipH="1">
            <a:off x="-42609" y="3749133"/>
            <a:ext cx="12180831" cy="3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8985A469-5846-463F-8262-F298A4F9AE5C}"/>
              </a:ext>
            </a:extLst>
          </p:cNvPr>
          <p:cNvCxnSpPr>
            <a:cxnSpLocks/>
          </p:cNvCxnSpPr>
          <p:nvPr/>
        </p:nvCxnSpPr>
        <p:spPr>
          <a:xfrm flipH="1">
            <a:off x="0" y="2512410"/>
            <a:ext cx="12192000" cy="0"/>
          </a:xfrm>
          <a:prstGeom prst="line">
            <a:avLst/>
          </a:prstGeom>
          <a:ln w="25400"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Rektangel 114">
            <a:extLst>
              <a:ext uri="{FF2B5EF4-FFF2-40B4-BE49-F238E27FC236}">
                <a16:creationId xmlns:a16="http://schemas.microsoft.com/office/drawing/2014/main" id="{1A3D5F2C-76EE-4E96-8172-324DD6591BC6}"/>
              </a:ext>
            </a:extLst>
          </p:cNvPr>
          <p:cNvSpPr/>
          <p:nvPr/>
        </p:nvSpPr>
        <p:spPr>
          <a:xfrm>
            <a:off x="140490" y="2660445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nto</a:t>
            </a:r>
          </a:p>
        </p:txBody>
      </p:sp>
      <p:graphicFrame>
        <p:nvGraphicFramePr>
          <p:cNvPr id="91" name="Object 90" hidden="1">
            <a:extLst>
              <a:ext uri="{FF2B5EF4-FFF2-40B4-BE49-F238E27FC236}">
                <a16:creationId xmlns:a16="http://schemas.microsoft.com/office/drawing/2014/main" id="{523924EF-6901-46E3-A852-C9609C985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91" name="Object 90" hidden="1">
                        <a:extLst>
                          <a:ext uri="{FF2B5EF4-FFF2-40B4-BE49-F238E27FC236}">
                            <a16:creationId xmlns:a16="http://schemas.microsoft.com/office/drawing/2014/main" id="{523924EF-6901-46E3-A852-C9609C985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42419E6-8EDA-40C9-B4A5-9B8FD471B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54">
              <a:defRPr/>
            </a:pPr>
            <a:endParaRPr lang="nb-NO" sz="240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4" name="Rektangel 13"/>
          <p:cNvSpPr/>
          <p:nvPr/>
        </p:nvSpPr>
        <p:spPr>
          <a:xfrm>
            <a:off x="6694196" y="264523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Prosjekt</a:t>
            </a:r>
          </a:p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Delprosjekt:</a:t>
            </a:r>
          </a:p>
          <a:p>
            <a:pPr algn="ctr" defTabSz="914173">
              <a:defRPr/>
            </a:pPr>
            <a:endParaRPr lang="nb-NO" sz="11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kstSylinder 7"/>
          <p:cNvSpPr txBox="1"/>
          <p:nvPr/>
        </p:nvSpPr>
        <p:spPr>
          <a:xfrm>
            <a:off x="1339206" y="2645239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0</a:t>
            </a:r>
          </a:p>
        </p:txBody>
      </p:sp>
      <p:sp>
        <p:nvSpPr>
          <p:cNvPr id="10" name="TekstSylinder 9"/>
          <p:cNvSpPr txBox="1"/>
          <p:nvPr/>
        </p:nvSpPr>
        <p:spPr>
          <a:xfrm>
            <a:off x="6013603" y="2607772"/>
            <a:ext cx="212991" cy="261608"/>
          </a:xfrm>
          <a:prstGeom prst="rect">
            <a:avLst/>
          </a:prstGeom>
          <a:noFill/>
        </p:spPr>
        <p:txBody>
          <a:bodyPr wrap="squar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7886327" y="2631603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5</a:t>
            </a:r>
          </a:p>
        </p:txBody>
      </p:sp>
      <p:cxnSp>
        <p:nvCxnSpPr>
          <p:cNvPr id="98" name="Connector: Elbow 97">
            <a:extLst>
              <a:ext uri="{FF2B5EF4-FFF2-40B4-BE49-F238E27FC236}">
                <a16:creationId xmlns:a16="http://schemas.microsoft.com/office/drawing/2014/main" id="{EF1ADE43-F2DC-482E-872A-368CF24FA13A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6465034" y="2625401"/>
            <a:ext cx="8879" cy="1911048"/>
          </a:xfrm>
          <a:prstGeom prst="bentConnector3">
            <a:avLst>
              <a:gd name="adj1" fmla="val 2674904"/>
            </a:avLst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2" name="Tittel 1"/>
          <p:cNvSpPr>
            <a:spLocks noGrp="1"/>
          </p:cNvSpPr>
          <p:nvPr>
            <p:ph type="title"/>
          </p:nvPr>
        </p:nvSpPr>
        <p:spPr>
          <a:xfrm>
            <a:off x="5126801" y="196918"/>
            <a:ext cx="7011421" cy="772800"/>
          </a:xfrm>
        </p:spPr>
        <p:txBody>
          <a:bodyPr>
            <a:noAutofit/>
          </a:bodyPr>
          <a:lstStyle/>
          <a:p>
            <a:pPr algn="ctr"/>
            <a:r>
              <a:rPr lang="nb-NO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Konto og koststed</a:t>
            </a:r>
          </a:p>
        </p:txBody>
      </p:sp>
      <p:sp>
        <p:nvSpPr>
          <p:cNvPr id="87" name="Rektangel 86">
            <a:extLst>
              <a:ext uri="{FF2B5EF4-FFF2-40B4-BE49-F238E27FC236}">
                <a16:creationId xmlns:a16="http://schemas.microsoft.com/office/drawing/2014/main" id="{14AB70E3-A135-43A0-AEE0-2D963969E9EE}"/>
              </a:ext>
            </a:extLst>
          </p:cNvPr>
          <p:cNvSpPr/>
          <p:nvPr/>
        </p:nvSpPr>
        <p:spPr>
          <a:xfrm>
            <a:off x="1814346" y="2664550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Koststed</a:t>
            </a:r>
          </a:p>
        </p:txBody>
      </p:sp>
      <p:sp>
        <p:nvSpPr>
          <p:cNvPr id="88" name="TekstSylinder 87">
            <a:extLst>
              <a:ext uri="{FF2B5EF4-FFF2-40B4-BE49-F238E27FC236}">
                <a16:creationId xmlns:a16="http://schemas.microsoft.com/office/drawing/2014/main" id="{5C3250A7-2CE8-4083-9856-4A333134EEC6}"/>
              </a:ext>
            </a:extLst>
          </p:cNvPr>
          <p:cNvSpPr txBox="1"/>
          <p:nvPr/>
        </p:nvSpPr>
        <p:spPr>
          <a:xfrm>
            <a:off x="3019178" y="2652038"/>
            <a:ext cx="256769" cy="261608"/>
          </a:xfrm>
          <a:prstGeom prst="rect">
            <a:avLst/>
          </a:prstGeom>
          <a:noFill/>
        </p:spPr>
        <p:txBody>
          <a:bodyPr wrap="none" lIns="91424" tIns="45719" rIns="91424" bIns="45719" rtlCol="0">
            <a:spAutoFit/>
          </a:bodyPr>
          <a:lstStyle/>
          <a:p>
            <a:pPr defTabSz="914173">
              <a:defRPr/>
            </a:pPr>
            <a:r>
              <a:rPr lang="nb-NO" sz="1100" b="1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96" name="Rektangel 95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9033116" y="2645238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nalyse</a:t>
            </a:r>
          </a:p>
        </p:txBody>
      </p:sp>
      <p:sp>
        <p:nvSpPr>
          <p:cNvPr id="39" name="Multiplikasjonstegn 38">
            <a:extLst>
              <a:ext uri="{FF2B5EF4-FFF2-40B4-BE49-F238E27FC236}">
                <a16:creationId xmlns:a16="http://schemas.microsoft.com/office/drawing/2014/main" id="{BA29E47A-15C6-4347-A8CC-1D75D7EBDFB7}"/>
              </a:ext>
            </a:extLst>
          </p:cNvPr>
          <p:cNvSpPr/>
          <p:nvPr/>
        </p:nvSpPr>
        <p:spPr>
          <a:xfrm>
            <a:off x="8957943" y="2362752"/>
            <a:ext cx="1611948" cy="1496221"/>
          </a:xfrm>
          <a:prstGeom prst="mathMultiply">
            <a:avLst/>
          </a:prstGeom>
          <a:solidFill>
            <a:srgbClr val="7F7F7F">
              <a:alpha val="76078"/>
            </a:srgbClr>
          </a:solidFill>
          <a:ln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Prosess 39">
            <a:extLst>
              <a:ext uri="{FF2B5EF4-FFF2-40B4-BE49-F238E27FC236}">
                <a16:creationId xmlns:a16="http://schemas.microsoft.com/office/drawing/2014/main" id="{F04175A1-B5F0-49F7-8D31-89898959EFF3}"/>
              </a:ext>
            </a:extLst>
          </p:cNvPr>
          <p:cNvSpPr/>
          <p:nvPr/>
        </p:nvSpPr>
        <p:spPr>
          <a:xfrm>
            <a:off x="7059616" y="2814829"/>
            <a:ext cx="714987" cy="226531"/>
          </a:xfrm>
          <a:prstGeom prst="flowChartProcess">
            <a:avLst/>
          </a:prstGeom>
          <a:solidFill>
            <a:srgbClr val="A5A5A5">
              <a:alpha val="78824"/>
            </a:srgb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D5230231-B9F4-46CA-AEC9-B82D6A203933}"/>
              </a:ext>
            </a:extLst>
          </p:cNvPr>
          <p:cNvSpPr/>
          <p:nvPr/>
        </p:nvSpPr>
        <p:spPr>
          <a:xfrm>
            <a:off x="10641236" y="2620625"/>
            <a:ext cx="1461600" cy="931248"/>
          </a:xfrm>
          <a:prstGeom prst="rect">
            <a:avLst/>
          </a:prstGeom>
          <a:solidFill>
            <a:srgbClr val="00037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9" rIns="91424" bIns="45719" rtlCol="0" anchor="ctr"/>
          <a:lstStyle/>
          <a:p>
            <a:pPr algn="ctr" defTabSz="914173">
              <a:defRPr/>
            </a:pPr>
            <a:r>
              <a:rPr lang="nb-NO" sz="1100">
                <a:solidFill>
                  <a:prstClr val="white"/>
                </a:solidFill>
                <a:latin typeface="Calibri"/>
              </a:rPr>
              <a:t>Arbeidspakke (BOA)</a:t>
            </a:r>
          </a:p>
        </p:txBody>
      </p:sp>
      <p:sp>
        <p:nvSpPr>
          <p:cNvPr id="9" name="Avrundet rektangel 8"/>
          <p:cNvSpPr/>
          <p:nvPr/>
        </p:nvSpPr>
        <p:spPr>
          <a:xfrm>
            <a:off x="0" y="2362752"/>
            <a:ext cx="3698813" cy="1690433"/>
          </a:xfrm>
          <a:prstGeom prst="roundRect">
            <a:avLst/>
          </a:prstGeom>
          <a:solidFill>
            <a:schemeClr val="accent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099661B-403D-41E6-8E66-630241525B46}"/>
              </a:ext>
            </a:extLst>
          </p:cNvPr>
          <p:cNvSpPr txBox="1"/>
          <p:nvPr/>
        </p:nvSpPr>
        <p:spPr>
          <a:xfrm>
            <a:off x="99202" y="4022409"/>
            <a:ext cx="1679970" cy="1973937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Felles</a:t>
            </a:r>
            <a:r>
              <a:rPr lang="nb-NO" sz="1400" b="1"/>
              <a:t> </a:t>
            </a:r>
            <a:r>
              <a:rPr lang="nb-NO" sz="1400"/>
              <a:t>gruppering av kostnader og inntekter. Felles for NTNU. </a:t>
            </a:r>
          </a:p>
          <a:p>
            <a:r>
              <a:rPr lang="nb-NO" sz="1400"/>
              <a:t>Tilsvarende som i dag, men med ulike siffer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E0D7555-3359-411A-9000-F83D4F2566E5}"/>
              </a:ext>
            </a:extLst>
          </p:cNvPr>
          <p:cNvSpPr txBox="1"/>
          <p:nvPr/>
        </p:nvSpPr>
        <p:spPr>
          <a:xfrm>
            <a:off x="1899006" y="4028527"/>
            <a:ext cx="1679969" cy="1532334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Koststed skal klassifiseres som leiested, kjernefasilitet eller annet. </a:t>
            </a:r>
            <a:endParaRPr lang="nb-NO" sz="1400" b="1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6B571A7-BB74-4978-B622-9929F28434F3}"/>
              </a:ext>
            </a:extLst>
          </p:cNvPr>
          <p:cNvSpPr txBox="1"/>
          <p:nvPr/>
        </p:nvSpPr>
        <p:spPr>
          <a:xfrm>
            <a:off x="1779172" y="583318"/>
            <a:ext cx="1750202" cy="1770698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ndarder: </a:t>
            </a:r>
            <a:r>
              <a:rPr lang="nb-NO" sz="1400"/>
              <a:t>Koststed skal klassifiseres med </a:t>
            </a:r>
            <a:r>
              <a:rPr lang="nb-NO" sz="1400" err="1"/>
              <a:t>studieby</a:t>
            </a:r>
            <a:r>
              <a:rPr lang="nb-NO" sz="1400"/>
              <a:t>, hvis koststedet kun benyttes i en av byene</a:t>
            </a:r>
            <a:endParaRPr lang="nb-NO" sz="1400" b="1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064FA21-9777-4B1E-963F-7E919EA7FB2F}"/>
              </a:ext>
            </a:extLst>
          </p:cNvPr>
          <p:cNvSpPr txBox="1"/>
          <p:nvPr/>
        </p:nvSpPr>
        <p:spPr>
          <a:xfrm>
            <a:off x="95029" y="6069355"/>
            <a:ext cx="1679970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tus: </a:t>
            </a:r>
            <a:r>
              <a:rPr lang="nb-NO" sz="1400"/>
              <a:t>Gjøres av FA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B606769D-AA6B-494A-A360-9E7627D6CAEE}"/>
              </a:ext>
            </a:extLst>
          </p:cNvPr>
          <p:cNvSpPr txBox="1"/>
          <p:nvPr/>
        </p:nvSpPr>
        <p:spPr>
          <a:xfrm>
            <a:off x="1849406" y="6069355"/>
            <a:ext cx="1679968" cy="57888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b-NO" sz="1400" b="1"/>
              <a:t>Status: </a:t>
            </a:r>
            <a:r>
              <a:rPr lang="nb-NO" sz="1400"/>
              <a:t>Allerede sendt inn til DFØ</a:t>
            </a:r>
          </a:p>
        </p:txBody>
      </p:sp>
    </p:spTree>
    <p:extLst>
      <p:ext uri="{BB962C8B-B14F-4D97-AF65-F5344CB8AC3E}">
        <p14:creationId xmlns:p14="http://schemas.microsoft.com/office/powerpoint/2010/main" val="3564371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7" grpId="0" animBg="1"/>
      <p:bldP spid="58" grpId="0" animBg="1"/>
      <p:bldP spid="6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Slide Background Fill">
            <a:extLst>
              <a:ext uri="{FF2B5EF4-FFF2-40B4-BE49-F238E27FC236}">
                <a16:creationId xmlns:a16="http://schemas.microsoft.com/office/drawing/2014/main" id="{C7D023E4-8DE1-436E-9847-ED6A4B4B04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lor Cover">
            <a:extLst>
              <a:ext uri="{FF2B5EF4-FFF2-40B4-BE49-F238E27FC236}">
                <a16:creationId xmlns:a16="http://schemas.microsoft.com/office/drawing/2014/main" id="{6BE11944-ED05-4FE9-9927-06C110BB3A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1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2812508-238C-4BCD-BDD3-25C99C5CA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-7167"/>
            <a:ext cx="12188952" cy="3490956"/>
            <a:chOff x="651279" y="598259"/>
            <a:chExt cx="10889442" cy="5680742"/>
          </a:xfrm>
        </p:grpSpPr>
        <p:sp>
          <p:nvSpPr>
            <p:cNvPr id="13" name="Color">
              <a:extLst>
                <a:ext uri="{FF2B5EF4-FFF2-40B4-BE49-F238E27FC236}">
                  <a16:creationId xmlns:a16="http://schemas.microsoft.com/office/drawing/2014/main" id="{EA98B5EE-6906-45B1-8691-D06F06B6C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Color">
              <a:extLst>
                <a:ext uri="{FF2B5EF4-FFF2-40B4-BE49-F238E27FC236}">
                  <a16:creationId xmlns:a16="http://schemas.microsoft.com/office/drawing/2014/main" id="{3CB4D77E-DA74-4797-88E4-C7D817D3151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32FD9DD-E09D-4A7F-B5A8-E3B6C4DCB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9708" y="1014574"/>
            <a:ext cx="9725730" cy="2226769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4800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rosjektstruktur BF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7A9D0E-D8CD-4ADB-AE1E-26621D57CE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9708" y="3640633"/>
            <a:ext cx="9725730" cy="24872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kort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intro, med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fokus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på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hvorda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nytte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osjektstrukturen</a:t>
            </a:r>
            <a:r>
              <a:rPr lang="en-US" kern="120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for BFV i </a:t>
            </a:r>
            <a:r>
              <a:rPr lang="en-US" kern="120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økonomistyringen</a:t>
            </a:r>
            <a:endParaRPr lang="en-US" kern="120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260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AlXC5M5Pum4yfmphha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865E2D6068FF4F9177B8D39939F081" ma:contentTypeVersion="2" ma:contentTypeDescription="Create a new document." ma:contentTypeScope="" ma:versionID="27c016aa6727662c5400fc20481af56a">
  <xsd:schema xmlns:xsd="http://www.w3.org/2001/XMLSchema" xmlns:xs="http://www.w3.org/2001/XMLSchema" xmlns:p="http://schemas.microsoft.com/office/2006/metadata/properties" xmlns:ns2="4dbf2689-7e86-44a3-abd1-0d84ed4bf17c" targetNamespace="http://schemas.microsoft.com/office/2006/metadata/properties" ma:root="true" ma:fieldsID="7e734d892ed5354bb2ac605d67e46867" ns2:_="">
    <xsd:import namespace="4dbf2689-7e86-44a3-abd1-0d84ed4bf1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bf2689-7e86-44a3-abd1-0d84ed4bf1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CAD5BAA-1D11-42D4-9254-7A8D871C56DA}">
  <ds:schemaRefs>
    <ds:schemaRef ds:uri="4dbf2689-7e86-44a3-abd1-0d84ed4bf1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0372808-3431-49C7-86A7-B089C223FFC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92B2CE-189B-4D25-9DA7-E5C294F29611}">
  <ds:schemaRefs>
    <ds:schemaRef ds:uri="4dbf2689-7e86-44a3-abd1-0d84ed4bf17c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64</Words>
  <Application>Microsoft Office PowerPoint</Application>
  <PresentationFormat>Widescreen</PresentationFormat>
  <Paragraphs>569</Paragraphs>
  <Slides>40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0</vt:i4>
      </vt:variant>
    </vt:vector>
  </HeadingPairs>
  <TitlesOfParts>
    <vt:vector size="45" baseType="lpstr">
      <vt:lpstr>Arial</vt:lpstr>
      <vt:lpstr>Calibri</vt:lpstr>
      <vt:lpstr>Calibri Light</vt:lpstr>
      <vt:lpstr>Office Theme</vt:lpstr>
      <vt:lpstr>think-cell Slide</vt:lpstr>
      <vt:lpstr>Innføring i BOTT økonomimodell Basiskurs 1</vt:lpstr>
      <vt:lpstr>Definisjon BOTT økonomimodell</vt:lpstr>
      <vt:lpstr>BEVISST i BOTT</vt:lpstr>
      <vt:lpstr>Nye kildesystemer, hva betyr dette?</vt:lpstr>
      <vt:lpstr>Endringer i økonomimodellen BFV</vt:lpstr>
      <vt:lpstr>Hva betyr dette?</vt:lpstr>
      <vt:lpstr>Endringer i økonomimodellen BOA</vt:lpstr>
      <vt:lpstr>Konto og koststed</vt:lpstr>
      <vt:lpstr>Prosjektstruktur BFV</vt:lpstr>
      <vt:lpstr>Noen prinsipper</vt:lpstr>
      <vt:lpstr>Prosjektstruktur for BFV</vt:lpstr>
      <vt:lpstr>Prosjektstruktur BFV</vt:lpstr>
      <vt:lpstr>PowerPoint-presentasjon</vt:lpstr>
      <vt:lpstr>PowerPoint-presentasjon</vt:lpstr>
      <vt:lpstr>RD: Hvordan kan vi bruke dette?</vt:lpstr>
      <vt:lpstr>Prosjektstruktur BFV – et eksempel</vt:lpstr>
      <vt:lpstr>PowerPoint-presentasjon</vt:lpstr>
      <vt:lpstr>RSO: Hvordan kan vi bruke dette?</vt:lpstr>
      <vt:lpstr>PowerPoint-presentasjon</vt:lpstr>
      <vt:lpstr>PowerPoint-presentasjon</vt:lpstr>
      <vt:lpstr>PowerPoint-presentasjon</vt:lpstr>
      <vt:lpstr>Gruppeoppgave: Økonomistyring BFV</vt:lpstr>
      <vt:lpstr>Prosjektstruktur BOA</vt:lpstr>
      <vt:lpstr>Prinsipper</vt:lpstr>
      <vt:lpstr>PowerPoint-presentasjon</vt:lpstr>
      <vt:lpstr>Prosjekt med 1 koststed og 1 finansiør</vt:lpstr>
      <vt:lpstr>Prosjekt med 1 finansiør og flere koststeder</vt:lpstr>
      <vt:lpstr>Muliggjør et aktivt valg av egenfinansieringsandel</vt:lpstr>
      <vt:lpstr>Muliggjør et aktivt valg av egenfinansieringsandel</vt:lpstr>
      <vt:lpstr>Endringer i prosjektet &amp; konsekvenser for samspill</vt:lpstr>
      <vt:lpstr>Prosjekt med 2 finansiører og 1 ksted</vt:lpstr>
      <vt:lpstr>Prosjektstruktur</vt:lpstr>
      <vt:lpstr>Hvordan kan vi bruke dette?</vt:lpstr>
      <vt:lpstr>PowerPoint-presentasjon</vt:lpstr>
      <vt:lpstr>Gruppeoppgave: Prosjektstyring BOA</vt:lpstr>
      <vt:lpstr>Andre momenter i BOTT økonomimodell</vt:lpstr>
      <vt:lpstr>Leiested - definisjon</vt:lpstr>
      <vt:lpstr>PowerPoint-presentasjon</vt:lpstr>
      <vt:lpstr>Andre endringer</vt:lpstr>
      <vt:lpstr>Gruppeoppgav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føring i BOTT økonomimodell</dc:title>
  <dc:creator>Annette Ysland Ludvigsen</dc:creator>
  <cp:lastModifiedBy>Trude Wictoria Bersvendsen</cp:lastModifiedBy>
  <cp:revision>2</cp:revision>
  <dcterms:created xsi:type="dcterms:W3CDTF">2021-06-09T06:07:43Z</dcterms:created>
  <dcterms:modified xsi:type="dcterms:W3CDTF">2022-11-02T12:2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865E2D6068FF4F9177B8D39939F081</vt:lpwstr>
  </property>
</Properties>
</file>